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3" ContentType="audio/m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8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9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0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1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2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3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4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5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6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tags/tag36.xml" ContentType="application/vnd.openxmlformats-officedocument.presentationml.tags+xml"/>
  <Override PartName="/ppt/notesSlides/notesSlide2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4" r:id="rId2"/>
  </p:sldMasterIdLst>
  <p:notesMasterIdLst>
    <p:notesMasterId r:id="rId32"/>
  </p:notesMasterIdLst>
  <p:sldIdLst>
    <p:sldId id="302" r:id="rId3"/>
    <p:sldId id="303" r:id="rId4"/>
    <p:sldId id="304" r:id="rId5"/>
    <p:sldId id="292" r:id="rId6"/>
    <p:sldId id="305" r:id="rId7"/>
    <p:sldId id="288" r:id="rId8"/>
    <p:sldId id="350" r:id="rId9"/>
    <p:sldId id="356" r:id="rId10"/>
    <p:sldId id="351" r:id="rId11"/>
    <p:sldId id="352" r:id="rId12"/>
    <p:sldId id="353" r:id="rId13"/>
    <p:sldId id="354" r:id="rId14"/>
    <p:sldId id="355" r:id="rId15"/>
    <p:sldId id="357" r:id="rId16"/>
    <p:sldId id="358" r:id="rId17"/>
    <p:sldId id="306" r:id="rId18"/>
    <p:sldId id="286" r:id="rId19"/>
    <p:sldId id="362" r:id="rId20"/>
    <p:sldId id="359" r:id="rId21"/>
    <p:sldId id="360" r:id="rId22"/>
    <p:sldId id="361" r:id="rId23"/>
    <p:sldId id="363" r:id="rId24"/>
    <p:sldId id="364" r:id="rId25"/>
    <p:sldId id="365" r:id="rId26"/>
    <p:sldId id="366" r:id="rId27"/>
    <p:sldId id="367" r:id="rId28"/>
    <p:sldId id="307" r:id="rId29"/>
    <p:sldId id="293" r:id="rId30"/>
    <p:sldId id="308" r:id="rId31"/>
  </p:sldIdLst>
  <p:sldSz cx="12192000" cy="6858000"/>
  <p:notesSz cx="6858000" cy="9144000"/>
  <p:custDataLst>
    <p:tags r:id="rId3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629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showAnimation="0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5441" autoAdjust="0"/>
  </p:normalViewPr>
  <p:slideViewPr>
    <p:cSldViewPr snapToGrid="0" showGuides="1">
      <p:cViewPr varScale="1">
        <p:scale>
          <a:sx n="96" d="100"/>
          <a:sy n="96" d="100"/>
        </p:scale>
        <p:origin x="612" y="48"/>
      </p:cViewPr>
      <p:guideLst>
        <p:guide orient="horz" pos="2160"/>
        <p:guide pos="629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34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viewProps" Target="viewProps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C3C5A01-9D17-4D0E-A4CA-BF7BA6EB2E5F}" type="datetimeFigureOut">
              <a:rPr lang="zh-CN" altLang="en-US" smtClean="0"/>
              <a:t>2025/3/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166DA4-DC5B-4171-A226-591CC3A60AF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198804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C7DFC6-CED2-1DA2-9E73-AF0AC812E2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45C510C-1041-1728-21A5-BD5B55BCC5D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69EAFF4-D55F-F10C-36F2-653CCD745BF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pc="0"/>
          </a:p>
        </p:txBody>
      </p:sp>
    </p:spTree>
    <p:extLst>
      <p:ext uri="{BB962C8B-B14F-4D97-AF65-F5344CB8AC3E}">
        <p14:creationId xmlns:p14="http://schemas.microsoft.com/office/powerpoint/2010/main" val="20264098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B98637-D632-5787-787D-F74C05C81E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1601D1A-9496-381D-E1C7-277BB691F54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1CE665D-70C4-8341-6EDE-63040CB6ADC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pc="0"/>
          </a:p>
        </p:txBody>
      </p:sp>
    </p:spTree>
    <p:extLst>
      <p:ext uri="{BB962C8B-B14F-4D97-AF65-F5344CB8AC3E}">
        <p14:creationId xmlns:p14="http://schemas.microsoft.com/office/powerpoint/2010/main" val="270023258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567DE7-DAD1-B0F4-2483-7739588863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358051F-201F-F5EA-709E-A341ACF2E7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B037B2D-5F19-FF25-0265-34904416124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pc="0"/>
          </a:p>
        </p:txBody>
      </p:sp>
    </p:spTree>
    <p:extLst>
      <p:ext uri="{BB962C8B-B14F-4D97-AF65-F5344CB8AC3E}">
        <p14:creationId xmlns:p14="http://schemas.microsoft.com/office/powerpoint/2010/main" val="187780343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379CE1-F046-F1E0-E1B0-D8DB6C19FD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3CC582-A413-32BF-76B2-F5F8BA1AFA0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3B2B7C8-F953-4D2E-F00E-DDA5FA8BE5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pc="0"/>
          </a:p>
        </p:txBody>
      </p:sp>
    </p:spTree>
    <p:extLst>
      <p:ext uri="{BB962C8B-B14F-4D97-AF65-F5344CB8AC3E}">
        <p14:creationId xmlns:p14="http://schemas.microsoft.com/office/powerpoint/2010/main" val="186611636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F94809-E812-B307-FBF1-6187E2FCF6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D69BA26-9DA8-D8AB-2A96-E2EA0E698A0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72E1D18-F94C-E4AA-D751-E2234C6AF91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pc="0"/>
          </a:p>
        </p:txBody>
      </p:sp>
    </p:spTree>
    <p:extLst>
      <p:ext uri="{BB962C8B-B14F-4D97-AF65-F5344CB8AC3E}">
        <p14:creationId xmlns:p14="http://schemas.microsoft.com/office/powerpoint/2010/main" val="232981666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3CBD0F-7801-7E87-3760-AE45EDAAA7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0022921-CAC8-9431-5595-F05D7ABC0CA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9BAB624-FAFA-FA1C-C935-F6DAB5E28AA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pc="0"/>
          </a:p>
        </p:txBody>
      </p:sp>
    </p:spTree>
    <p:extLst>
      <p:ext uri="{BB962C8B-B14F-4D97-AF65-F5344CB8AC3E}">
        <p14:creationId xmlns:p14="http://schemas.microsoft.com/office/powerpoint/2010/main" val="427839501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6A89E1-C61B-4137-A872-D9D3553779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50BF795B-F1C9-F6D7-9BF2-798DF53EBE0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FD02AC0B-8F5E-5CD4-2E46-1AA6BBD2FB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672230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087C9D-13DD-3071-8909-2932EC11A6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39B71E7B-7749-580B-FC2D-3AA51E6418A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D596F0D6-1070-090A-6B28-8319A1B3F53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369076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73B0D6-B30B-5EE9-7E2E-927EB70BDA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D3D53B6F-7760-B4AE-5A73-C8DF4B232DE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90C7072F-DF0F-BB2B-2C54-F17571A638F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7285418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99A220-8C82-2ECF-C8EB-DC6E6DFECC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E698584E-3BD2-1AA2-92F2-5885F49E4FB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7024B839-E4CB-FEB4-4A1B-FD9FBEFE9C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3623060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A94DE8-8E1C-49DC-35E1-D7BCE3BE30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FF08E58A-5F54-AA41-4408-FB5D3BED819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2217C588-A6E4-17C4-C691-EC2413E2A32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3455044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990B8E-A870-849B-296E-9C8352011B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EF70C1D7-5F00-89A8-997A-D81C9A3E264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34CCDF0C-16D8-9544-80AD-9FE7F50971B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6949775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3ED8B2-CECD-8392-96A3-1BE6DB83A2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08F53987-76EC-1218-E55B-8E7E5D98075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04F9EC0E-E7C9-A6A3-5922-7E9C010B4CF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0858938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3F67D4-0AF2-B842-470D-650C0539F2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1FF08627-0A0B-D376-E49A-197A70F7F86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CFE43B7F-E771-4636-B24F-ACE618F5152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5507044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6F394A-D125-543B-08C1-3E087B3179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F15E422A-436F-1907-D069-E3AA6500731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D428E73B-F8EA-2F83-44CD-D5842212B6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7474271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/>
              <a:t>模板来自于： 第一PPT https://www.1ppt.com/</a:t>
            </a:r>
          </a:p>
          <a:p>
            <a:endParaRPr lang="zh-CN" altLang="en-US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/>
              <a:t>模板来自于： 第一PPT https://www.1ppt.com/</a:t>
            </a:r>
          </a:p>
          <a:p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pc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12DCD9-30FF-E074-FCA8-6894CD807C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05BA9DC-70B6-3518-EC32-1619C3F4A70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121365F-6EFD-F0E0-2F58-DC3A785427A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pc="0"/>
          </a:p>
        </p:txBody>
      </p:sp>
    </p:spTree>
    <p:extLst>
      <p:ext uri="{BB962C8B-B14F-4D97-AF65-F5344CB8AC3E}">
        <p14:creationId xmlns:p14="http://schemas.microsoft.com/office/powerpoint/2010/main" val="25842282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0FF1E-9C71-70ED-44AF-00AF1229D3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8AD8361-E794-FB4D-91F3-C3B6C8200B9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AECACAD-F63B-6CE2-F005-08226455754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pc="0"/>
          </a:p>
        </p:txBody>
      </p:sp>
    </p:spTree>
    <p:extLst>
      <p:ext uri="{BB962C8B-B14F-4D97-AF65-F5344CB8AC3E}">
        <p14:creationId xmlns:p14="http://schemas.microsoft.com/office/powerpoint/2010/main" val="23582189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505BA6-DF9B-CF93-DA3D-66DF43B194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1153ACC-5956-24A4-4649-4F6A9CE3316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6EDABE8-03C5-83C9-8D3B-D1627E90D45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pc="0"/>
          </a:p>
        </p:txBody>
      </p:sp>
    </p:spTree>
    <p:extLst>
      <p:ext uri="{BB962C8B-B14F-4D97-AF65-F5344CB8AC3E}">
        <p14:creationId xmlns:p14="http://schemas.microsoft.com/office/powerpoint/2010/main" val="14751946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hyperlink" Target="http://www.1ppt.com/hangye/" TargetMode="External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62_Content with Ic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slow">
    <p:push dir="u"/>
  </p:transition>
  <p:hf sldNum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7_Devic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med">
    <p:pull/>
  </p:transition>
  <p:hf sldNum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94_Content with Char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 spd="slow">
        <p:fade/>
      </p:transition>
    </mc:Fallback>
  </mc:AlternateContent>
  <p:hf sldNum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0_SWO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slow">
    <p:push dir="u"/>
  </p:transition>
  <p:hf sldNum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704850" y="2657474"/>
            <a:ext cx="7438597" cy="147404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buNone/>
              <a:defRPr sz="4000"/>
            </a:lvl1pPr>
          </a:lstStyle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704850" y="4257247"/>
            <a:ext cx="7438597" cy="42524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buNone/>
              <a:defRPr sz="2000"/>
            </a:lvl1pPr>
          </a:lstStyle>
          <a:p>
            <a:pPr lvl="0"/>
            <a:r>
              <a:rPr lang="en-US" altLang="zh-CN"/>
              <a:t>Click to edit Master subtitle style</a:t>
            </a:r>
          </a:p>
        </p:txBody>
      </p:sp>
      <p:sp>
        <p:nvSpPr>
          <p:cNvPr id="16" name="文本占位符 15"/>
          <p:cNvSpPr>
            <a:spLocks noGrp="1"/>
          </p:cNvSpPr>
          <p:nvPr>
            <p:ph type="body" sz="quarter" idx="4294967295" hasCustomPrompt="1"/>
          </p:nvPr>
        </p:nvSpPr>
        <p:spPr>
          <a:xfrm>
            <a:off x="704850" y="5934771"/>
            <a:ext cx="2061210" cy="310871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altLang="zh-CN" sz="1200">
                <a:solidFill>
                  <a:schemeClr val="bg1">
                    <a:lumMod val="85000"/>
                    <a:alpha val="60000"/>
                  </a:schemeClr>
                </a:solidFill>
              </a:rPr>
              <a:t>www.islide.cc</a:t>
            </a:r>
            <a:endParaRPr lang="en-US" altLang="en-US" sz="1200">
              <a:solidFill>
                <a:schemeClr val="bg1">
                  <a:lumMod val="85000"/>
                  <a:alpha val="60000"/>
                </a:schemeClr>
              </a:solidFill>
            </a:endParaRPr>
          </a:p>
        </p:txBody>
      </p:sp>
      <p:sp>
        <p:nvSpPr>
          <p:cNvPr id="17" name="文本占位符 16"/>
          <p:cNvSpPr>
            <a:spLocks noGrp="1"/>
          </p:cNvSpPr>
          <p:nvPr>
            <p:ph type="body" sz="quarter" idx="9" hasCustomPrompt="1"/>
          </p:nvPr>
        </p:nvSpPr>
        <p:spPr>
          <a:xfrm>
            <a:off x="8721090" y="5926511"/>
            <a:ext cx="2747010" cy="296271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 algn="r">
              <a:buNone/>
            </a:pPr>
            <a:r>
              <a:rPr lang="en-US" altLang="zh-CN" sz="1200">
                <a:solidFill>
                  <a:schemeClr val="bg1">
                    <a:lumMod val="85000"/>
                    <a:alpha val="60000"/>
                  </a:schemeClr>
                </a:solidFill>
              </a:rPr>
              <a:t>Speaker name and title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0">
    <p:fade/>
  </p:transition>
  <p:hf sldNum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0">
    <p:fade/>
  </p:transition>
  <p:hf sldNum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4"/>
          <p:cNvSpPr txBox="1"/>
          <p:nvPr/>
        </p:nvSpPr>
        <p:spPr>
          <a:xfrm>
            <a:off x="2965031" y="3367444"/>
            <a:ext cx="453650" cy="1372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zh-CN" altLang="en-US" sz="100">
                <a:solidFill>
                  <a:schemeClr val="tx1">
                    <a:alpha val="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行业</a:t>
            </a:r>
            <a:r>
              <a:rPr lang="en-US" altLang="zh-CN" sz="100">
                <a:solidFill>
                  <a:schemeClr val="tx1">
                    <a:alpha val="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00">
                <a:solidFill>
                  <a:schemeClr val="tx1">
                    <a:alpha val="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</a:t>
            </a:r>
            <a:r>
              <a:rPr lang="en-US" altLang="zh-CN" sz="100">
                <a:solidFill>
                  <a:schemeClr val="tx1">
                    <a:alpha val="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ttp://www.1ppt.com/hangye/</a:t>
            </a:r>
          </a:p>
        </p:txBody>
      </p:sp>
      <p:sp>
        <p:nvSpPr>
          <p:cNvPr id="3" name="TextBox 8"/>
          <p:cNvSpPr txBox="1"/>
          <p:nvPr/>
        </p:nvSpPr>
        <p:spPr>
          <a:xfrm>
            <a:off x="7509627" y="2215277"/>
            <a:ext cx="540060" cy="1372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zh-CN" altLang="en-US" sz="100">
                <a:solidFill>
                  <a:schemeClr val="tx1">
                    <a:alpha val="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2"/>
              </a:rPr>
              <a:t>行业</a:t>
            </a:r>
            <a:r>
              <a:rPr lang="en-US" altLang="zh-CN" sz="100">
                <a:solidFill>
                  <a:schemeClr val="tx1">
                    <a:alpha val="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2"/>
              </a:rPr>
              <a:t>PPT</a:t>
            </a:r>
            <a:r>
              <a:rPr lang="zh-CN" altLang="en-US" sz="100">
                <a:solidFill>
                  <a:schemeClr val="tx1">
                    <a:alpha val="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2"/>
              </a:rPr>
              <a:t>模板</a:t>
            </a:r>
            <a:r>
              <a:rPr lang="en-US" altLang="zh-CN" sz="100">
                <a:solidFill>
                  <a:schemeClr val="tx1">
                    <a:alpha val="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ttp://www.1ppt.com/hangye/</a:t>
            </a:r>
          </a:p>
        </p:txBody>
      </p:sp>
      <p:sp>
        <p:nvSpPr>
          <p:cNvPr id="4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5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8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9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10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E9B957CC-A438-4D82-B305-22914934740F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/>
  <p:hf sldNum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0">
    <p:fade/>
  </p:transition>
  <p:hf sldNum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2" r:id="rId2"/>
    <p:sldLayoutId id="2147483655" r:id="rId3"/>
    <p:sldLayoutId id="2147483656" r:id="rId4"/>
    <p:sldLayoutId id="2147483660" r:id="rId5"/>
    <p:sldLayoutId id="2147483661" r:id="rId6"/>
    <p:sldLayoutId id="2147483662" r:id="rId7"/>
    <p:sldLayoutId id="2147483663" r:id="rId8"/>
  </p:sldLayoutIdLst>
  <p:transition spd="slow" advClick="0" advTm="0">
    <p:fade/>
  </p:transition>
  <p:hf sldNum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</p:sldLayoutIdLst>
  <p:transition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7.png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8.png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9.png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10.png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11.png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microsoft.com/office/2007/relationships/media" Target="../media/media1.mp3"/><Relationship Id="rId7" Type="http://schemas.openxmlformats.org/officeDocument/2006/relationships/image" Target="../media/image12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notesSlide" Target="../notesSlides/notesSlide15.xml"/><Relationship Id="rId5" Type="http://schemas.openxmlformats.org/officeDocument/2006/relationships/slideLayout" Target="../slideLayouts/slideLayout2.xml"/><Relationship Id="rId4" Type="http://schemas.openxmlformats.org/officeDocument/2006/relationships/audio" Target="../media/media1.mp3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1.emf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1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image" Target="../media/image23.png"/><Relationship Id="rId4" Type="http://schemas.openxmlformats.org/officeDocument/2006/relationships/notesSlide" Target="../notesSlides/notesSlide2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1.emf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7.xml"/><Relationship Id="rId4" Type="http://schemas.openxmlformats.org/officeDocument/2006/relationships/slideLayout" Target="../slideLayouts/slideLayout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link.zhihu.com/?target=https%3A//xie.infoq.cn/link%3Ftarget%3Dhttps%253A%252F%252Fwww.zhihu.com%252Fsearch%253Fq%253D%2525E5%2525A4%2525A7%2525E6%2525A8%2525A1%2525E5%25259E%25258B%2526search_source%253DEntity%2526hybrid_search_source%253DEntity%2526hybrid_search_extra%253D%25257B%252522sourceType%252522%25253A%252522answer%252522%25252C%252522sourceId%252522%25253A3271533824%25257D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3.png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4.png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5.png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6.png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tx2">
                <a:lumMod val="60000"/>
                <a:lumOff val="40000"/>
                <a:alpha val="57000"/>
              </a:schemeClr>
            </a:gs>
            <a:gs pos="0">
              <a:schemeClr val="tx2">
                <a:lumMod val="20000"/>
                <a:lumOff val="80000"/>
                <a:alpha val="0"/>
              </a:schemeClr>
            </a:gs>
          </a:gsLst>
          <a:lin ang="0" scaled="0"/>
        </a:gradFill>
        <a:effectLst/>
      </p:bgPr>
    </p:bg>
    <p:spTree>
      <p:nvGrpSpPr>
        <p:cNvPr id="1" name="iṥļïd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/>
        </p:nvGrpSpPr>
        <p:grpSpPr>
          <a:xfrm>
            <a:off x="2877674" y="1306125"/>
            <a:ext cx="6388221" cy="3819942"/>
            <a:chOff x="2877674" y="1306125"/>
            <a:chExt cx="6388221" cy="3819942"/>
          </a:xfrm>
        </p:grpSpPr>
        <p:sp>
          <p:nvSpPr>
            <p:cNvPr id="12" name="îṡḻîdè"/>
            <p:cNvSpPr/>
            <p:nvPr userDrawn="1"/>
          </p:nvSpPr>
          <p:spPr>
            <a:xfrm rot="5772073">
              <a:off x="5493995" y="1306125"/>
              <a:ext cx="3771900" cy="3771900"/>
            </a:xfrm>
            <a:prstGeom prst="ellips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28294">
                  <a:schemeClr val="accent1">
                    <a:lumMod val="60000"/>
                    <a:lumOff val="40000"/>
                    <a:alpha val="61000"/>
                  </a:schemeClr>
                </a:gs>
                <a:gs pos="94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îsḻíḍe"/>
            <p:cNvSpPr/>
            <p:nvPr userDrawn="1"/>
          </p:nvSpPr>
          <p:spPr>
            <a:xfrm rot="17450176">
              <a:off x="2877674" y="1354167"/>
              <a:ext cx="3771900" cy="3771900"/>
            </a:xfrm>
            <a:prstGeom prst="ellips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28294">
                  <a:schemeClr val="accent1">
                    <a:lumMod val="60000"/>
                    <a:lumOff val="40000"/>
                    <a:alpha val="41000"/>
                  </a:schemeClr>
                </a:gs>
                <a:gs pos="94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6" name="组合 15"/>
          <p:cNvGrpSpPr/>
          <p:nvPr/>
        </p:nvGrpSpPr>
        <p:grpSpPr>
          <a:xfrm rot="16819501">
            <a:off x="11217593" y="532827"/>
            <a:ext cx="501013" cy="501013"/>
            <a:chOff x="3738861" y="1313527"/>
            <a:chExt cx="3771900" cy="3771900"/>
          </a:xfrm>
        </p:grpSpPr>
        <p:sp>
          <p:nvSpPr>
            <p:cNvPr id="17" name="îS1ïḋe"/>
            <p:cNvSpPr/>
            <p:nvPr userDrawn="1"/>
          </p:nvSpPr>
          <p:spPr>
            <a:xfrm rot="6203470">
              <a:off x="3738861" y="1313527"/>
              <a:ext cx="3771900" cy="3771900"/>
            </a:xfrm>
            <a:prstGeom prst="ellipse">
              <a:avLst/>
            </a:prstGeom>
            <a:gradFill>
              <a:gsLst>
                <a:gs pos="65000">
                  <a:srgbClr val="D96D61">
                    <a:alpha val="31000"/>
                  </a:srgbClr>
                </a:gs>
                <a:gs pos="0">
                  <a:srgbClr val="D96D61">
                    <a:alpha val="0"/>
                  </a:srgbClr>
                </a:gs>
                <a:gs pos="100000">
                  <a:srgbClr val="D96D61">
                    <a:alpha val="56000"/>
                  </a:srgbClr>
                </a:gs>
              </a:gsLst>
              <a:lin ang="0" scaled="0"/>
            </a:gradFill>
            <a:ln>
              <a:noFill/>
            </a:ln>
            <a:effectLst>
              <a:glow rad="304800">
                <a:schemeClr val="accent1">
                  <a:alpha val="1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8" name="iślíḑè"/>
            <p:cNvSpPr/>
            <p:nvPr userDrawn="1"/>
          </p:nvSpPr>
          <p:spPr>
            <a:xfrm rot="6203470">
              <a:off x="3738861" y="1313527"/>
              <a:ext cx="3771900" cy="3771900"/>
            </a:xfrm>
            <a:prstGeom prst="ellips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28294">
                  <a:srgbClr val="E8414C">
                    <a:alpha val="10000"/>
                  </a:srgbClr>
                </a:gs>
                <a:gs pos="94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2" name="îSļîdé"/>
          <p:cNvSpPr>
            <a:spLocks noGrp="1"/>
          </p:cNvSpPr>
          <p:nvPr>
            <p:ph type="body" sz="quarter" idx="10"/>
          </p:nvPr>
        </p:nvSpPr>
        <p:spPr>
          <a:xfrm>
            <a:off x="1373408" y="2618550"/>
            <a:ext cx="9445184" cy="1474043"/>
          </a:xfrm>
        </p:spPr>
        <p:txBody>
          <a:bodyPr/>
          <a:lstStyle/>
          <a:p>
            <a:pPr algn="ctr"/>
            <a:r>
              <a:rPr lang="zh-CN" altLang="en-US" sz="6600" b="1" u="sng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haroni" pitchFamily="2" charset="-79"/>
                <a:cs typeface="Aharoni" pitchFamily="2" charset="-79"/>
              </a:rPr>
              <a:t>大模型分类及应用分析</a:t>
            </a:r>
            <a:endParaRPr lang="en-US" altLang="zh-CN" sz="6600" b="1" u="sng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haroni" pitchFamily="2" charset="-79"/>
              <a:cs typeface="Aharoni" pitchFamily="2" charset="-79"/>
            </a:endParaRPr>
          </a:p>
          <a:p>
            <a:pPr algn="ctr"/>
            <a:r>
              <a:rPr lang="en-US" altLang="zh-CN" sz="6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haroni" pitchFamily="2" charset="-79"/>
                <a:cs typeface="Aharoni" pitchFamily="2" charset="-79"/>
              </a:rPr>
              <a:t>2025</a:t>
            </a:r>
            <a:r>
              <a:rPr lang="zh-CN" altLang="en-US" sz="6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haroni" pitchFamily="2" charset="-79"/>
                <a:cs typeface="Aharoni" pitchFamily="2" charset="-79"/>
              </a:rPr>
              <a:t>年选择策略</a:t>
            </a:r>
          </a:p>
        </p:txBody>
      </p:sp>
      <p:sp>
        <p:nvSpPr>
          <p:cNvPr id="8" name="íṣḻiďé"/>
          <p:cNvSpPr>
            <a:spLocks noGrp="1"/>
          </p:cNvSpPr>
          <p:nvPr>
            <p:ph type="body" sz="quarter" idx="4294967295"/>
          </p:nvPr>
        </p:nvSpPr>
        <p:spPr>
          <a:xfrm>
            <a:off x="704850" y="5934771"/>
            <a:ext cx="2061210" cy="310871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汇报人：李林江</a:t>
            </a:r>
            <a:endParaRPr lang="en-US" altLang="en-US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9" name="iṣľîďe"/>
          <p:cNvSpPr>
            <a:spLocks noGrp="1"/>
          </p:cNvSpPr>
          <p:nvPr>
            <p:ph type="body" sz="quarter" idx="4294967295"/>
          </p:nvPr>
        </p:nvSpPr>
        <p:spPr>
          <a:xfrm>
            <a:off x="8721090" y="5926511"/>
            <a:ext cx="2747010" cy="296271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 algn="r">
              <a:buNone/>
            </a:pP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时间：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25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年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3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月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3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日</a:t>
            </a:r>
            <a:endParaRPr lang="en-US" altLang="zh-CN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9" name="文本框 3"/>
          <p:cNvSpPr txBox="1"/>
          <p:nvPr/>
        </p:nvSpPr>
        <p:spPr>
          <a:xfrm>
            <a:off x="3911600" y="4276429"/>
            <a:ext cx="4375150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zh-CN" altLang="en-US" sz="1100" dirty="0">
              <a:solidFill>
                <a:schemeClr val="accent3"/>
              </a:solidFill>
            </a:endParaRPr>
          </a:p>
          <a:p>
            <a:pPr algn="ctr"/>
            <a:endParaRPr lang="zh-CN" altLang="en-US" sz="1200" dirty="0">
              <a:solidFill>
                <a:schemeClr val="accent3"/>
              </a:solidFill>
            </a:endParaRPr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3000"/>
    </mc:Choice>
    <mc:Fallback xmlns="">
      <p:transition advTm="3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5" presetClass="entr" presetSubtype="0" dur="1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6" presetID="53" presetClass="entr" presetSubtype="16" dur="5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8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/>
      <p:bldP spid="8" grpId="0" build="p"/>
      <p:bldP spid="9" grpId="0" build="p"/>
      <p:bldP spid="19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8C10A1-DDA9-B374-FAEA-1AD454B314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8">
            <a:extLst>
              <a:ext uri="{FF2B5EF4-FFF2-40B4-BE49-F238E27FC236}">
                <a16:creationId xmlns:a16="http://schemas.microsoft.com/office/drawing/2014/main" id="{301574F9-9E23-7A8A-5099-047F104D310F}"/>
              </a:ext>
            </a:extLst>
          </p:cNvPr>
          <p:cNvSpPr/>
          <p:nvPr/>
        </p:nvSpPr>
        <p:spPr>
          <a:xfrm>
            <a:off x="5732640" y="0"/>
            <a:ext cx="6459359" cy="6858000"/>
          </a:xfrm>
          <a:prstGeom prst="rect">
            <a:avLst/>
          </a:prstGeom>
          <a:gradFill>
            <a:gsLst>
              <a:gs pos="100000">
                <a:schemeClr val="tx2">
                  <a:lumMod val="60000"/>
                  <a:lumOff val="40000"/>
                </a:schemeClr>
              </a:gs>
              <a:gs pos="0">
                <a:schemeClr val="tx2">
                  <a:lumMod val="20000"/>
                  <a:lumOff val="8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9" tIns="22859" rIns="45719" bIns="22859" rtlCol="0" anchor="ctr"/>
          <a:lstStyle/>
          <a:p>
            <a:pPr algn="ctr"/>
            <a:endParaRPr lang="en-US"/>
          </a:p>
        </p:txBody>
      </p:sp>
      <p:grpSp>
        <p:nvGrpSpPr>
          <p:cNvPr id="9" name="Группа 1">
            <a:extLst>
              <a:ext uri="{FF2B5EF4-FFF2-40B4-BE49-F238E27FC236}">
                <a16:creationId xmlns:a16="http://schemas.microsoft.com/office/drawing/2014/main" id="{7B27365C-3624-2CE4-D212-5B4DC5EE13D9}"/>
              </a:ext>
            </a:extLst>
          </p:cNvPr>
          <p:cNvGrpSpPr/>
          <p:nvPr/>
        </p:nvGrpSpPr>
        <p:grpSpPr>
          <a:xfrm>
            <a:off x="4901371" y="856779"/>
            <a:ext cx="9773240" cy="5561188"/>
            <a:chOff x="4703929" y="717077"/>
            <a:chExt cx="9773238" cy="5561188"/>
          </a:xfrm>
        </p:grpSpPr>
        <p:sp>
          <p:nvSpPr>
            <p:cNvPr id="11" name="Полилиния 34">
              <a:extLst>
                <a:ext uri="{FF2B5EF4-FFF2-40B4-BE49-F238E27FC236}">
                  <a16:creationId xmlns:a16="http://schemas.microsoft.com/office/drawing/2014/main" id="{35F48A39-968E-7C97-FC12-4ABD91309D72}"/>
                </a:ext>
              </a:extLst>
            </p:cNvPr>
            <p:cNvSpPr/>
            <p:nvPr/>
          </p:nvSpPr>
          <p:spPr>
            <a:xfrm>
              <a:off x="5555970" y="717077"/>
              <a:ext cx="7984744" cy="5414294"/>
            </a:xfrm>
            <a:custGeom>
              <a:avLst/>
              <a:gdLst>
                <a:gd name="connsiteX0" fmla="*/ 593737 w 15796902"/>
                <a:gd name="connsiteY0" fmla="*/ 0 h 10799762"/>
                <a:gd name="connsiteX1" fmla="*/ 2968613 w 15796902"/>
                <a:gd name="connsiteY1" fmla="*/ 0 h 10799762"/>
                <a:gd name="connsiteX2" fmla="*/ 2968615 w 15796902"/>
                <a:gd name="connsiteY2" fmla="*/ 0 h 10799762"/>
                <a:gd name="connsiteX3" fmla="*/ 12828290 w 15796902"/>
                <a:gd name="connsiteY3" fmla="*/ 0 h 10799762"/>
                <a:gd name="connsiteX4" fmla="*/ 14287500 w 15796902"/>
                <a:gd name="connsiteY4" fmla="*/ 0 h 10799762"/>
                <a:gd name="connsiteX5" fmla="*/ 15203166 w 15796902"/>
                <a:gd name="connsiteY5" fmla="*/ 0 h 10799762"/>
                <a:gd name="connsiteX6" fmla="*/ 15796902 w 15796902"/>
                <a:gd name="connsiteY6" fmla="*/ 593737 h 10799762"/>
                <a:gd name="connsiteX7" fmla="*/ 15796902 w 15796902"/>
                <a:gd name="connsiteY7" fmla="*/ 5080012 h 10799762"/>
                <a:gd name="connsiteX8" fmla="*/ 15796902 w 15796902"/>
                <a:gd name="connsiteY8" fmla="*/ 5719750 h 10799762"/>
                <a:gd name="connsiteX9" fmla="*/ 15796902 w 15796902"/>
                <a:gd name="connsiteY9" fmla="*/ 10206025 h 10799762"/>
                <a:gd name="connsiteX10" fmla="*/ 15203166 w 15796902"/>
                <a:gd name="connsiteY10" fmla="*/ 10799762 h 10799762"/>
                <a:gd name="connsiteX11" fmla="*/ 14287500 w 15796902"/>
                <a:gd name="connsiteY11" fmla="*/ 10799762 h 10799762"/>
                <a:gd name="connsiteX12" fmla="*/ 12828290 w 15796902"/>
                <a:gd name="connsiteY12" fmla="*/ 10799762 h 10799762"/>
                <a:gd name="connsiteX13" fmla="*/ 2968613 w 15796902"/>
                <a:gd name="connsiteY13" fmla="*/ 10799762 h 10799762"/>
                <a:gd name="connsiteX14" fmla="*/ 1781175 w 15796902"/>
                <a:gd name="connsiteY14" fmla="*/ 10799762 h 10799762"/>
                <a:gd name="connsiteX15" fmla="*/ 593737 w 15796902"/>
                <a:gd name="connsiteY15" fmla="*/ 10799762 h 10799762"/>
                <a:gd name="connsiteX16" fmla="*/ 0 w 15796902"/>
                <a:gd name="connsiteY16" fmla="*/ 10206025 h 10799762"/>
                <a:gd name="connsiteX17" fmla="*/ 0 w 15796902"/>
                <a:gd name="connsiteY17" fmla="*/ 5719750 h 10799762"/>
                <a:gd name="connsiteX18" fmla="*/ 0 w 15796902"/>
                <a:gd name="connsiteY18" fmla="*/ 5080012 h 10799762"/>
                <a:gd name="connsiteX19" fmla="*/ 0 w 15796902"/>
                <a:gd name="connsiteY19" fmla="*/ 593737 h 10799762"/>
                <a:gd name="connsiteX20" fmla="*/ 593737 w 15796902"/>
                <a:gd name="connsiteY20" fmla="*/ 0 h 10799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5796902" h="10799762">
                  <a:moveTo>
                    <a:pt x="593737" y="0"/>
                  </a:moveTo>
                  <a:lnTo>
                    <a:pt x="2968613" y="0"/>
                  </a:lnTo>
                  <a:lnTo>
                    <a:pt x="2968615" y="0"/>
                  </a:lnTo>
                  <a:lnTo>
                    <a:pt x="12828290" y="0"/>
                  </a:lnTo>
                  <a:lnTo>
                    <a:pt x="14287500" y="0"/>
                  </a:lnTo>
                  <a:lnTo>
                    <a:pt x="15203166" y="0"/>
                  </a:lnTo>
                  <a:cubicBezTo>
                    <a:pt x="15531078" y="0"/>
                    <a:pt x="15796902" y="265825"/>
                    <a:pt x="15796902" y="593737"/>
                  </a:cubicBezTo>
                  <a:lnTo>
                    <a:pt x="15796902" y="5080012"/>
                  </a:lnTo>
                  <a:lnTo>
                    <a:pt x="15796902" y="5719750"/>
                  </a:lnTo>
                  <a:lnTo>
                    <a:pt x="15796902" y="10206025"/>
                  </a:lnTo>
                  <a:cubicBezTo>
                    <a:pt x="15796902" y="10533937"/>
                    <a:pt x="15531078" y="10799762"/>
                    <a:pt x="15203166" y="10799762"/>
                  </a:cubicBezTo>
                  <a:lnTo>
                    <a:pt x="14287500" y="10799762"/>
                  </a:lnTo>
                  <a:lnTo>
                    <a:pt x="12828290" y="10799762"/>
                  </a:lnTo>
                  <a:lnTo>
                    <a:pt x="2968613" y="10799762"/>
                  </a:lnTo>
                  <a:lnTo>
                    <a:pt x="1781175" y="10799762"/>
                  </a:lnTo>
                  <a:lnTo>
                    <a:pt x="593737" y="10799762"/>
                  </a:lnTo>
                  <a:cubicBezTo>
                    <a:pt x="265825" y="10799762"/>
                    <a:pt x="0" y="10533937"/>
                    <a:pt x="0" y="10206025"/>
                  </a:cubicBezTo>
                  <a:lnTo>
                    <a:pt x="0" y="5719750"/>
                  </a:lnTo>
                  <a:lnTo>
                    <a:pt x="0" y="5080012"/>
                  </a:lnTo>
                  <a:lnTo>
                    <a:pt x="0" y="593737"/>
                  </a:lnTo>
                  <a:cubicBezTo>
                    <a:pt x="0" y="265825"/>
                    <a:pt x="265825" y="0"/>
                    <a:pt x="593737" y="0"/>
                  </a:cubicBezTo>
                  <a:close/>
                </a:path>
              </a:pathLst>
            </a:custGeom>
            <a:solidFill>
              <a:srgbClr val="3838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12" name="Полилиния 36">
              <a:extLst>
                <a:ext uri="{FF2B5EF4-FFF2-40B4-BE49-F238E27FC236}">
                  <a16:creationId xmlns:a16="http://schemas.microsoft.com/office/drawing/2014/main" id="{C5127814-DD35-635C-738D-E8332A1DBA78}"/>
                </a:ext>
              </a:extLst>
            </p:cNvPr>
            <p:cNvSpPr/>
            <p:nvPr/>
          </p:nvSpPr>
          <p:spPr>
            <a:xfrm>
              <a:off x="4703929" y="6202089"/>
              <a:ext cx="9773238" cy="76176"/>
            </a:xfrm>
            <a:custGeom>
              <a:avLst/>
              <a:gdLst>
                <a:gd name="connsiteX0" fmla="*/ 0 w 19335232"/>
                <a:gd name="connsiteY0" fmla="*/ 0 h 333694"/>
                <a:gd name="connsiteX1" fmla="*/ 19335232 w 19335232"/>
                <a:gd name="connsiteY1" fmla="*/ 0 h 333694"/>
                <a:gd name="connsiteX2" fmla="*/ 19322694 w 19335232"/>
                <a:gd name="connsiteY2" fmla="*/ 40390 h 333694"/>
                <a:gd name="connsiteX3" fmla="*/ 18880202 w 19335232"/>
                <a:gd name="connsiteY3" fmla="*/ 333694 h 333694"/>
                <a:gd name="connsiteX4" fmla="*/ 455030 w 19335232"/>
                <a:gd name="connsiteY4" fmla="*/ 333694 h 333694"/>
                <a:gd name="connsiteX5" fmla="*/ 12538 w 19335232"/>
                <a:gd name="connsiteY5" fmla="*/ 40390 h 333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335232" h="333694">
                  <a:moveTo>
                    <a:pt x="0" y="0"/>
                  </a:moveTo>
                  <a:lnTo>
                    <a:pt x="19335232" y="0"/>
                  </a:lnTo>
                  <a:lnTo>
                    <a:pt x="19322694" y="40390"/>
                  </a:lnTo>
                  <a:cubicBezTo>
                    <a:pt x="19249792" y="212753"/>
                    <a:pt x="19079120" y="333694"/>
                    <a:pt x="18880202" y="333694"/>
                  </a:cubicBezTo>
                  <a:lnTo>
                    <a:pt x="455030" y="333694"/>
                  </a:lnTo>
                  <a:cubicBezTo>
                    <a:pt x="256112" y="333694"/>
                    <a:pt x="85441" y="212753"/>
                    <a:pt x="12538" y="40390"/>
                  </a:cubicBezTo>
                  <a:close/>
                </a:path>
              </a:pathLst>
            </a:custGeom>
            <a:gradFill flip="none" rotWithShape="1">
              <a:gsLst>
                <a:gs pos="89000">
                  <a:srgbClr val="828282"/>
                </a:gs>
                <a:gs pos="0">
                  <a:srgbClr val="C5C5C5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13" name="Прямоугольник 6">
              <a:extLst>
                <a:ext uri="{FF2B5EF4-FFF2-40B4-BE49-F238E27FC236}">
                  <a16:creationId xmlns:a16="http://schemas.microsoft.com/office/drawing/2014/main" id="{517C4F8C-ACD1-8FCF-3499-ECE0077C4D9A}"/>
                </a:ext>
              </a:extLst>
            </p:cNvPr>
            <p:cNvSpPr/>
            <p:nvPr/>
          </p:nvSpPr>
          <p:spPr>
            <a:xfrm>
              <a:off x="4703929" y="6015623"/>
              <a:ext cx="9773238" cy="186467"/>
            </a:xfrm>
            <a:prstGeom prst="rect">
              <a:avLst/>
            </a:prstGeom>
            <a:gradFill flip="none" rotWithShape="1">
              <a:gsLst>
                <a:gs pos="2000">
                  <a:srgbClr val="D5D5D5"/>
                </a:gs>
                <a:gs pos="1000">
                  <a:srgbClr val="F2F2F2"/>
                </a:gs>
                <a:gs pos="0">
                  <a:schemeClr val="tx1">
                    <a:alpha val="5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14" name="Полилиния 37">
              <a:extLst>
                <a:ext uri="{FF2B5EF4-FFF2-40B4-BE49-F238E27FC236}">
                  <a16:creationId xmlns:a16="http://schemas.microsoft.com/office/drawing/2014/main" id="{13099117-C103-0D2E-6CC7-D9DBB803636F}"/>
                </a:ext>
              </a:extLst>
            </p:cNvPr>
            <p:cNvSpPr/>
            <p:nvPr/>
          </p:nvSpPr>
          <p:spPr>
            <a:xfrm>
              <a:off x="8891012" y="6018701"/>
              <a:ext cx="1351391" cy="106495"/>
            </a:xfrm>
            <a:custGeom>
              <a:avLst/>
              <a:gdLst>
                <a:gd name="connsiteX0" fmla="*/ 0 w 2673572"/>
                <a:gd name="connsiteY0" fmla="*/ 0 h 212424"/>
                <a:gd name="connsiteX1" fmla="*/ 2673572 w 2673572"/>
                <a:gd name="connsiteY1" fmla="*/ 0 h 212424"/>
                <a:gd name="connsiteX2" fmla="*/ 2662629 w 2673572"/>
                <a:gd name="connsiteY2" fmla="*/ 54207 h 212424"/>
                <a:gd name="connsiteX3" fmla="*/ 2423935 w 2673572"/>
                <a:gd name="connsiteY3" fmla="*/ 212424 h 212424"/>
                <a:gd name="connsiteX4" fmla="*/ 249637 w 2673572"/>
                <a:gd name="connsiteY4" fmla="*/ 212424 h 212424"/>
                <a:gd name="connsiteX5" fmla="*/ 10944 w 2673572"/>
                <a:gd name="connsiteY5" fmla="*/ 54207 h 212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73572" h="212424">
                  <a:moveTo>
                    <a:pt x="0" y="0"/>
                  </a:moveTo>
                  <a:lnTo>
                    <a:pt x="2673572" y="0"/>
                  </a:lnTo>
                  <a:lnTo>
                    <a:pt x="2662629" y="54207"/>
                  </a:lnTo>
                  <a:cubicBezTo>
                    <a:pt x="2623302" y="147185"/>
                    <a:pt x="2531237" y="212424"/>
                    <a:pt x="2423935" y="212424"/>
                  </a:cubicBezTo>
                  <a:lnTo>
                    <a:pt x="249637" y="212424"/>
                  </a:lnTo>
                  <a:cubicBezTo>
                    <a:pt x="142335" y="212424"/>
                    <a:pt x="50270" y="147185"/>
                    <a:pt x="10944" y="54207"/>
                  </a:cubicBezTo>
                  <a:close/>
                </a:path>
              </a:pathLst>
            </a:custGeom>
            <a:gradFill>
              <a:gsLst>
                <a:gs pos="88000">
                  <a:srgbClr val="F2F2F2"/>
                </a:gs>
                <a:gs pos="12000">
                  <a:srgbClr val="F2F2F2"/>
                </a:gs>
                <a:gs pos="100000">
                  <a:srgbClr val="828282"/>
                </a:gs>
                <a:gs pos="0">
                  <a:srgbClr val="828282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grpSp>
          <p:nvGrpSpPr>
            <p:cNvPr id="15" name="Группа 26">
              <a:extLst>
                <a:ext uri="{FF2B5EF4-FFF2-40B4-BE49-F238E27FC236}">
                  <a16:creationId xmlns:a16="http://schemas.microsoft.com/office/drawing/2014/main" id="{E8EEAC3F-EB59-D36E-6FB6-6314C0C68FA5}"/>
                </a:ext>
              </a:extLst>
            </p:cNvPr>
            <p:cNvGrpSpPr/>
            <p:nvPr/>
          </p:nvGrpSpPr>
          <p:grpSpPr>
            <a:xfrm flipH="1">
              <a:off x="9572513" y="890239"/>
              <a:ext cx="23483" cy="22921"/>
              <a:chOff x="13422299" y="954496"/>
              <a:chExt cx="127026" cy="125005"/>
            </a:xfrm>
          </p:grpSpPr>
          <p:sp>
            <p:nvSpPr>
              <p:cNvPr id="16" name="Овал 29">
                <a:extLst>
                  <a:ext uri="{FF2B5EF4-FFF2-40B4-BE49-F238E27FC236}">
                    <a16:creationId xmlns:a16="http://schemas.microsoft.com/office/drawing/2014/main" id="{095906D8-28E6-AD6A-4236-DBD1361F26B9}"/>
                  </a:ext>
                </a:extLst>
              </p:cNvPr>
              <p:cNvSpPr/>
              <p:nvPr/>
            </p:nvSpPr>
            <p:spPr>
              <a:xfrm>
                <a:off x="13422302" y="954496"/>
                <a:ext cx="127023" cy="125004"/>
              </a:xfrm>
              <a:prstGeom prst="ellipse">
                <a:avLst/>
              </a:prstGeom>
              <a:solidFill>
                <a:schemeClr val="bg1"/>
              </a:solidFill>
              <a:ln w="50800"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900"/>
              </a:p>
            </p:txBody>
          </p:sp>
          <p:sp>
            <p:nvSpPr>
              <p:cNvPr id="17" name="Овал 33">
                <a:extLst>
                  <a:ext uri="{FF2B5EF4-FFF2-40B4-BE49-F238E27FC236}">
                    <a16:creationId xmlns:a16="http://schemas.microsoft.com/office/drawing/2014/main" id="{3005C10B-6060-5698-0685-2783718206A6}"/>
                  </a:ext>
                </a:extLst>
              </p:cNvPr>
              <p:cNvSpPr/>
              <p:nvPr/>
            </p:nvSpPr>
            <p:spPr>
              <a:xfrm>
                <a:off x="13422299" y="954497"/>
                <a:ext cx="127026" cy="125004"/>
              </a:xfrm>
              <a:prstGeom prst="ellipse">
                <a:avLst/>
              </a:prstGeom>
              <a:solidFill>
                <a:srgbClr val="002060"/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900"/>
              </a:p>
            </p:txBody>
          </p:sp>
        </p:grpSp>
      </p:grpSp>
      <p:grpSp>
        <p:nvGrpSpPr>
          <p:cNvPr id="22" name="Group 22">
            <a:extLst>
              <a:ext uri="{FF2B5EF4-FFF2-40B4-BE49-F238E27FC236}">
                <a16:creationId xmlns:a16="http://schemas.microsoft.com/office/drawing/2014/main" id="{28637D18-DCF9-12F6-81CB-327B4F6B0E95}"/>
              </a:ext>
            </a:extLst>
          </p:cNvPr>
          <p:cNvGrpSpPr>
            <a:grpSpLocks noChangeAspect="1"/>
          </p:cNvGrpSpPr>
          <p:nvPr/>
        </p:nvGrpSpPr>
        <p:grpSpPr>
          <a:xfrm>
            <a:off x="2037053" y="5717089"/>
            <a:ext cx="312000" cy="311952"/>
            <a:chOff x="3238499" y="8277225"/>
            <a:chExt cx="666750" cy="666750"/>
          </a:xfrm>
        </p:grpSpPr>
        <p:sp>
          <p:nvSpPr>
            <p:cNvPr id="23" name="Oval 23">
              <a:extLst>
                <a:ext uri="{FF2B5EF4-FFF2-40B4-BE49-F238E27FC236}">
                  <a16:creationId xmlns:a16="http://schemas.microsoft.com/office/drawing/2014/main" id="{2497BD2D-19A4-1616-7328-98699C5C7540}"/>
                </a:ext>
              </a:extLst>
            </p:cNvPr>
            <p:cNvSpPr/>
            <p:nvPr/>
          </p:nvSpPr>
          <p:spPr>
            <a:xfrm>
              <a:off x="3238499" y="8277225"/>
              <a:ext cx="666750" cy="666750"/>
            </a:xfrm>
            <a:prstGeom prst="ellipse">
              <a:avLst/>
            </a:prstGeom>
            <a:solidFill>
              <a:schemeClr val="accent5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24" name="Freeform 24">
              <a:extLst>
                <a:ext uri="{FF2B5EF4-FFF2-40B4-BE49-F238E27FC236}">
                  <a16:creationId xmlns:a16="http://schemas.microsoft.com/office/drawing/2014/main" id="{78EAA554-8F2E-EC27-2A20-745063EAA2A3}"/>
                </a:ext>
              </a:extLst>
            </p:cNvPr>
            <p:cNvSpPr/>
            <p:nvPr/>
          </p:nvSpPr>
          <p:spPr bwMode="auto">
            <a:xfrm>
              <a:off x="3502483" y="8426894"/>
              <a:ext cx="189583" cy="367412"/>
            </a:xfrm>
            <a:custGeom>
              <a:avLst/>
              <a:gdLst>
                <a:gd name="T0" fmla="*/ 461 w 461"/>
                <a:gd name="T1" fmla="*/ 448 h 895"/>
                <a:gd name="T2" fmla="*/ 457 w 461"/>
                <a:gd name="T3" fmla="*/ 457 h 895"/>
                <a:gd name="T4" fmla="*/ 22 w 461"/>
                <a:gd name="T5" fmla="*/ 892 h 895"/>
                <a:gd name="T6" fmla="*/ 14 w 461"/>
                <a:gd name="T7" fmla="*/ 895 h 895"/>
                <a:gd name="T8" fmla="*/ 5 w 461"/>
                <a:gd name="T9" fmla="*/ 892 h 895"/>
                <a:gd name="T10" fmla="*/ 5 w 461"/>
                <a:gd name="T11" fmla="*/ 874 h 895"/>
                <a:gd name="T12" fmla="*/ 431 w 461"/>
                <a:gd name="T13" fmla="*/ 448 h 895"/>
                <a:gd name="T14" fmla="*/ 6 w 461"/>
                <a:gd name="T15" fmla="*/ 23 h 895"/>
                <a:gd name="T16" fmla="*/ 6 w 461"/>
                <a:gd name="T17" fmla="*/ 5 h 895"/>
                <a:gd name="T18" fmla="*/ 24 w 461"/>
                <a:gd name="T19" fmla="*/ 5 h 895"/>
                <a:gd name="T20" fmla="*/ 457 w 461"/>
                <a:gd name="T21" fmla="*/ 439 h 895"/>
                <a:gd name="T22" fmla="*/ 461 w 461"/>
                <a:gd name="T23" fmla="*/ 448 h 8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1" h="895">
                  <a:moveTo>
                    <a:pt x="461" y="448"/>
                  </a:moveTo>
                  <a:cubicBezTo>
                    <a:pt x="461" y="452"/>
                    <a:pt x="460" y="454"/>
                    <a:pt x="457" y="457"/>
                  </a:cubicBezTo>
                  <a:lnTo>
                    <a:pt x="22" y="892"/>
                  </a:lnTo>
                  <a:cubicBezTo>
                    <a:pt x="20" y="894"/>
                    <a:pt x="16" y="895"/>
                    <a:pt x="14" y="895"/>
                  </a:cubicBezTo>
                  <a:cubicBezTo>
                    <a:pt x="11" y="895"/>
                    <a:pt x="7" y="894"/>
                    <a:pt x="5" y="892"/>
                  </a:cubicBezTo>
                  <a:cubicBezTo>
                    <a:pt x="0" y="887"/>
                    <a:pt x="0" y="879"/>
                    <a:pt x="5" y="874"/>
                  </a:cubicBezTo>
                  <a:lnTo>
                    <a:pt x="431" y="448"/>
                  </a:lnTo>
                  <a:lnTo>
                    <a:pt x="6" y="23"/>
                  </a:lnTo>
                  <a:cubicBezTo>
                    <a:pt x="1" y="18"/>
                    <a:pt x="1" y="10"/>
                    <a:pt x="6" y="5"/>
                  </a:cubicBezTo>
                  <a:cubicBezTo>
                    <a:pt x="11" y="0"/>
                    <a:pt x="19" y="0"/>
                    <a:pt x="24" y="5"/>
                  </a:cubicBezTo>
                  <a:lnTo>
                    <a:pt x="457" y="439"/>
                  </a:lnTo>
                  <a:cubicBezTo>
                    <a:pt x="460" y="442"/>
                    <a:pt x="461" y="444"/>
                    <a:pt x="461" y="448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</a:ln>
          </p:spPr>
          <p:txBody>
            <a:bodyPr vert="horz" wrap="square" lIns="137160" tIns="68580" rIns="137160" bIns="68580" numCol="1" anchor="t" anchorCtr="0" compatLnSpc="1"/>
            <a:lstStyle/>
            <a:p>
              <a:endParaRPr lang="en-US" sz="2700"/>
            </a:p>
          </p:txBody>
        </p:sp>
      </p:grpSp>
      <p:sp>
        <p:nvSpPr>
          <p:cNvPr id="26" name="PA_TextPlaceholder 1">
            <a:extLst>
              <a:ext uri="{FF2B5EF4-FFF2-40B4-BE49-F238E27FC236}">
                <a16:creationId xmlns:a16="http://schemas.microsoft.com/office/drawing/2014/main" id="{D0FCE0C1-BD24-499E-4B80-0AD218E6F07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216357" y="2871458"/>
            <a:ext cx="4051121" cy="2457579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优点：</a:t>
            </a:r>
            <a:endParaRPr lang="en-US" altLang="zh-CN" sz="1400" dirty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在硬件代码生成上具有独特优势，尤其适合</a:t>
            </a: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STM32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等嵌入式平台应用；</a:t>
            </a:r>
            <a:b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开源策略吸引了大量开发者参与生态建设</a:t>
            </a:r>
            <a:endParaRPr lang="en-US" altLang="zh-CN" sz="1400" dirty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缺点：</a:t>
            </a:r>
            <a:endParaRPr lang="en-US" altLang="zh-CN" sz="1400" dirty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多语言支持范围有限，目前仅覆盖</a:t>
            </a: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5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种语言，限制了全球化应用</a:t>
            </a:r>
            <a:endParaRPr lang="en-US" sz="14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27" name="PA_TextPlaceholder 2">
            <a:extLst>
              <a:ext uri="{FF2B5EF4-FFF2-40B4-BE49-F238E27FC236}">
                <a16:creationId xmlns:a16="http://schemas.microsoft.com/office/drawing/2014/main" id="{D0DF2362-8207-7A3C-AF2D-85A913E7B4E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84976" y="1597191"/>
            <a:ext cx="4051121" cy="1503831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3600" b="1" dirty="0">
                <a:solidFill>
                  <a:srgbClr val="404040"/>
                </a:solidFill>
                <a:latin typeface="Inter"/>
              </a:rPr>
              <a:t>Grok</a:t>
            </a:r>
            <a:endParaRPr lang="en-US" sz="3600" b="1" dirty="0">
              <a:solidFill>
                <a:srgbClr val="404040"/>
              </a:solidFill>
              <a:latin typeface="Inter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D57562FE-5533-4327-2B6D-AA0492B8A10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25515" y="1597191"/>
            <a:ext cx="7712364" cy="4057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8982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3000"/>
    </mc:Choice>
    <mc:Fallback xmlns="">
      <p:transition advTm="3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ur="500" decel="5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51FC81-9B82-D3E2-34C2-D4E5DC1F89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8">
            <a:extLst>
              <a:ext uri="{FF2B5EF4-FFF2-40B4-BE49-F238E27FC236}">
                <a16:creationId xmlns:a16="http://schemas.microsoft.com/office/drawing/2014/main" id="{E5E64D49-40BC-A99B-7339-E2D0E0BE4066}"/>
              </a:ext>
            </a:extLst>
          </p:cNvPr>
          <p:cNvSpPr/>
          <p:nvPr/>
        </p:nvSpPr>
        <p:spPr>
          <a:xfrm>
            <a:off x="5732640" y="0"/>
            <a:ext cx="6459359" cy="6858000"/>
          </a:xfrm>
          <a:prstGeom prst="rect">
            <a:avLst/>
          </a:prstGeom>
          <a:gradFill>
            <a:gsLst>
              <a:gs pos="100000">
                <a:schemeClr val="tx2">
                  <a:lumMod val="60000"/>
                  <a:lumOff val="40000"/>
                </a:schemeClr>
              </a:gs>
              <a:gs pos="0">
                <a:schemeClr val="tx2">
                  <a:lumMod val="20000"/>
                  <a:lumOff val="8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9" tIns="22859" rIns="45719" bIns="22859" rtlCol="0" anchor="ctr"/>
          <a:lstStyle/>
          <a:p>
            <a:pPr algn="ctr"/>
            <a:endParaRPr lang="en-US"/>
          </a:p>
        </p:txBody>
      </p:sp>
      <p:grpSp>
        <p:nvGrpSpPr>
          <p:cNvPr id="9" name="Группа 1">
            <a:extLst>
              <a:ext uri="{FF2B5EF4-FFF2-40B4-BE49-F238E27FC236}">
                <a16:creationId xmlns:a16="http://schemas.microsoft.com/office/drawing/2014/main" id="{A9302BF1-5ADE-9CCF-3942-9CB9D25992E9}"/>
              </a:ext>
            </a:extLst>
          </p:cNvPr>
          <p:cNvGrpSpPr/>
          <p:nvPr/>
        </p:nvGrpSpPr>
        <p:grpSpPr>
          <a:xfrm>
            <a:off x="4901371" y="856779"/>
            <a:ext cx="9773240" cy="5561188"/>
            <a:chOff x="4703929" y="717077"/>
            <a:chExt cx="9773238" cy="5561188"/>
          </a:xfrm>
        </p:grpSpPr>
        <p:sp>
          <p:nvSpPr>
            <p:cNvPr id="11" name="Полилиния 34">
              <a:extLst>
                <a:ext uri="{FF2B5EF4-FFF2-40B4-BE49-F238E27FC236}">
                  <a16:creationId xmlns:a16="http://schemas.microsoft.com/office/drawing/2014/main" id="{BD3329BB-F03F-9B57-BC5E-FBBBF8EE05BA}"/>
                </a:ext>
              </a:extLst>
            </p:cNvPr>
            <p:cNvSpPr/>
            <p:nvPr/>
          </p:nvSpPr>
          <p:spPr>
            <a:xfrm>
              <a:off x="5555970" y="717077"/>
              <a:ext cx="7984744" cy="5414294"/>
            </a:xfrm>
            <a:custGeom>
              <a:avLst/>
              <a:gdLst>
                <a:gd name="connsiteX0" fmla="*/ 593737 w 15796902"/>
                <a:gd name="connsiteY0" fmla="*/ 0 h 10799762"/>
                <a:gd name="connsiteX1" fmla="*/ 2968613 w 15796902"/>
                <a:gd name="connsiteY1" fmla="*/ 0 h 10799762"/>
                <a:gd name="connsiteX2" fmla="*/ 2968615 w 15796902"/>
                <a:gd name="connsiteY2" fmla="*/ 0 h 10799762"/>
                <a:gd name="connsiteX3" fmla="*/ 12828290 w 15796902"/>
                <a:gd name="connsiteY3" fmla="*/ 0 h 10799762"/>
                <a:gd name="connsiteX4" fmla="*/ 14287500 w 15796902"/>
                <a:gd name="connsiteY4" fmla="*/ 0 h 10799762"/>
                <a:gd name="connsiteX5" fmla="*/ 15203166 w 15796902"/>
                <a:gd name="connsiteY5" fmla="*/ 0 h 10799762"/>
                <a:gd name="connsiteX6" fmla="*/ 15796902 w 15796902"/>
                <a:gd name="connsiteY6" fmla="*/ 593737 h 10799762"/>
                <a:gd name="connsiteX7" fmla="*/ 15796902 w 15796902"/>
                <a:gd name="connsiteY7" fmla="*/ 5080012 h 10799762"/>
                <a:gd name="connsiteX8" fmla="*/ 15796902 w 15796902"/>
                <a:gd name="connsiteY8" fmla="*/ 5719750 h 10799762"/>
                <a:gd name="connsiteX9" fmla="*/ 15796902 w 15796902"/>
                <a:gd name="connsiteY9" fmla="*/ 10206025 h 10799762"/>
                <a:gd name="connsiteX10" fmla="*/ 15203166 w 15796902"/>
                <a:gd name="connsiteY10" fmla="*/ 10799762 h 10799762"/>
                <a:gd name="connsiteX11" fmla="*/ 14287500 w 15796902"/>
                <a:gd name="connsiteY11" fmla="*/ 10799762 h 10799762"/>
                <a:gd name="connsiteX12" fmla="*/ 12828290 w 15796902"/>
                <a:gd name="connsiteY12" fmla="*/ 10799762 h 10799762"/>
                <a:gd name="connsiteX13" fmla="*/ 2968613 w 15796902"/>
                <a:gd name="connsiteY13" fmla="*/ 10799762 h 10799762"/>
                <a:gd name="connsiteX14" fmla="*/ 1781175 w 15796902"/>
                <a:gd name="connsiteY14" fmla="*/ 10799762 h 10799762"/>
                <a:gd name="connsiteX15" fmla="*/ 593737 w 15796902"/>
                <a:gd name="connsiteY15" fmla="*/ 10799762 h 10799762"/>
                <a:gd name="connsiteX16" fmla="*/ 0 w 15796902"/>
                <a:gd name="connsiteY16" fmla="*/ 10206025 h 10799762"/>
                <a:gd name="connsiteX17" fmla="*/ 0 w 15796902"/>
                <a:gd name="connsiteY17" fmla="*/ 5719750 h 10799762"/>
                <a:gd name="connsiteX18" fmla="*/ 0 w 15796902"/>
                <a:gd name="connsiteY18" fmla="*/ 5080012 h 10799762"/>
                <a:gd name="connsiteX19" fmla="*/ 0 w 15796902"/>
                <a:gd name="connsiteY19" fmla="*/ 593737 h 10799762"/>
                <a:gd name="connsiteX20" fmla="*/ 593737 w 15796902"/>
                <a:gd name="connsiteY20" fmla="*/ 0 h 10799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5796902" h="10799762">
                  <a:moveTo>
                    <a:pt x="593737" y="0"/>
                  </a:moveTo>
                  <a:lnTo>
                    <a:pt x="2968613" y="0"/>
                  </a:lnTo>
                  <a:lnTo>
                    <a:pt x="2968615" y="0"/>
                  </a:lnTo>
                  <a:lnTo>
                    <a:pt x="12828290" y="0"/>
                  </a:lnTo>
                  <a:lnTo>
                    <a:pt x="14287500" y="0"/>
                  </a:lnTo>
                  <a:lnTo>
                    <a:pt x="15203166" y="0"/>
                  </a:lnTo>
                  <a:cubicBezTo>
                    <a:pt x="15531078" y="0"/>
                    <a:pt x="15796902" y="265825"/>
                    <a:pt x="15796902" y="593737"/>
                  </a:cubicBezTo>
                  <a:lnTo>
                    <a:pt x="15796902" y="5080012"/>
                  </a:lnTo>
                  <a:lnTo>
                    <a:pt x="15796902" y="5719750"/>
                  </a:lnTo>
                  <a:lnTo>
                    <a:pt x="15796902" y="10206025"/>
                  </a:lnTo>
                  <a:cubicBezTo>
                    <a:pt x="15796902" y="10533937"/>
                    <a:pt x="15531078" y="10799762"/>
                    <a:pt x="15203166" y="10799762"/>
                  </a:cubicBezTo>
                  <a:lnTo>
                    <a:pt x="14287500" y="10799762"/>
                  </a:lnTo>
                  <a:lnTo>
                    <a:pt x="12828290" y="10799762"/>
                  </a:lnTo>
                  <a:lnTo>
                    <a:pt x="2968613" y="10799762"/>
                  </a:lnTo>
                  <a:lnTo>
                    <a:pt x="1781175" y="10799762"/>
                  </a:lnTo>
                  <a:lnTo>
                    <a:pt x="593737" y="10799762"/>
                  </a:lnTo>
                  <a:cubicBezTo>
                    <a:pt x="265825" y="10799762"/>
                    <a:pt x="0" y="10533937"/>
                    <a:pt x="0" y="10206025"/>
                  </a:cubicBezTo>
                  <a:lnTo>
                    <a:pt x="0" y="5719750"/>
                  </a:lnTo>
                  <a:lnTo>
                    <a:pt x="0" y="5080012"/>
                  </a:lnTo>
                  <a:lnTo>
                    <a:pt x="0" y="593737"/>
                  </a:lnTo>
                  <a:cubicBezTo>
                    <a:pt x="0" y="265825"/>
                    <a:pt x="265825" y="0"/>
                    <a:pt x="593737" y="0"/>
                  </a:cubicBezTo>
                  <a:close/>
                </a:path>
              </a:pathLst>
            </a:custGeom>
            <a:solidFill>
              <a:srgbClr val="3838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12" name="Полилиния 36">
              <a:extLst>
                <a:ext uri="{FF2B5EF4-FFF2-40B4-BE49-F238E27FC236}">
                  <a16:creationId xmlns:a16="http://schemas.microsoft.com/office/drawing/2014/main" id="{5046E954-A365-5E3D-B2BA-ADB1CF3DB386}"/>
                </a:ext>
              </a:extLst>
            </p:cNvPr>
            <p:cNvSpPr/>
            <p:nvPr/>
          </p:nvSpPr>
          <p:spPr>
            <a:xfrm>
              <a:off x="4703929" y="6202089"/>
              <a:ext cx="9773238" cy="76176"/>
            </a:xfrm>
            <a:custGeom>
              <a:avLst/>
              <a:gdLst>
                <a:gd name="connsiteX0" fmla="*/ 0 w 19335232"/>
                <a:gd name="connsiteY0" fmla="*/ 0 h 333694"/>
                <a:gd name="connsiteX1" fmla="*/ 19335232 w 19335232"/>
                <a:gd name="connsiteY1" fmla="*/ 0 h 333694"/>
                <a:gd name="connsiteX2" fmla="*/ 19322694 w 19335232"/>
                <a:gd name="connsiteY2" fmla="*/ 40390 h 333694"/>
                <a:gd name="connsiteX3" fmla="*/ 18880202 w 19335232"/>
                <a:gd name="connsiteY3" fmla="*/ 333694 h 333694"/>
                <a:gd name="connsiteX4" fmla="*/ 455030 w 19335232"/>
                <a:gd name="connsiteY4" fmla="*/ 333694 h 333694"/>
                <a:gd name="connsiteX5" fmla="*/ 12538 w 19335232"/>
                <a:gd name="connsiteY5" fmla="*/ 40390 h 333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335232" h="333694">
                  <a:moveTo>
                    <a:pt x="0" y="0"/>
                  </a:moveTo>
                  <a:lnTo>
                    <a:pt x="19335232" y="0"/>
                  </a:lnTo>
                  <a:lnTo>
                    <a:pt x="19322694" y="40390"/>
                  </a:lnTo>
                  <a:cubicBezTo>
                    <a:pt x="19249792" y="212753"/>
                    <a:pt x="19079120" y="333694"/>
                    <a:pt x="18880202" y="333694"/>
                  </a:cubicBezTo>
                  <a:lnTo>
                    <a:pt x="455030" y="333694"/>
                  </a:lnTo>
                  <a:cubicBezTo>
                    <a:pt x="256112" y="333694"/>
                    <a:pt x="85441" y="212753"/>
                    <a:pt x="12538" y="40390"/>
                  </a:cubicBezTo>
                  <a:close/>
                </a:path>
              </a:pathLst>
            </a:custGeom>
            <a:gradFill flip="none" rotWithShape="1">
              <a:gsLst>
                <a:gs pos="89000">
                  <a:srgbClr val="828282"/>
                </a:gs>
                <a:gs pos="0">
                  <a:srgbClr val="C5C5C5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13" name="Прямоугольник 6">
              <a:extLst>
                <a:ext uri="{FF2B5EF4-FFF2-40B4-BE49-F238E27FC236}">
                  <a16:creationId xmlns:a16="http://schemas.microsoft.com/office/drawing/2014/main" id="{E213C553-153B-4742-6642-FD025571704C}"/>
                </a:ext>
              </a:extLst>
            </p:cNvPr>
            <p:cNvSpPr/>
            <p:nvPr/>
          </p:nvSpPr>
          <p:spPr>
            <a:xfrm>
              <a:off x="4703929" y="6015623"/>
              <a:ext cx="9773238" cy="186467"/>
            </a:xfrm>
            <a:prstGeom prst="rect">
              <a:avLst/>
            </a:prstGeom>
            <a:gradFill flip="none" rotWithShape="1">
              <a:gsLst>
                <a:gs pos="2000">
                  <a:srgbClr val="D5D5D5"/>
                </a:gs>
                <a:gs pos="1000">
                  <a:srgbClr val="F2F2F2"/>
                </a:gs>
                <a:gs pos="0">
                  <a:schemeClr val="tx1">
                    <a:alpha val="5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14" name="Полилиния 37">
              <a:extLst>
                <a:ext uri="{FF2B5EF4-FFF2-40B4-BE49-F238E27FC236}">
                  <a16:creationId xmlns:a16="http://schemas.microsoft.com/office/drawing/2014/main" id="{B392D6AF-81EA-D75F-3573-D8A3ACE0251D}"/>
                </a:ext>
              </a:extLst>
            </p:cNvPr>
            <p:cNvSpPr/>
            <p:nvPr/>
          </p:nvSpPr>
          <p:spPr>
            <a:xfrm>
              <a:off x="8891012" y="6018701"/>
              <a:ext cx="1351391" cy="106495"/>
            </a:xfrm>
            <a:custGeom>
              <a:avLst/>
              <a:gdLst>
                <a:gd name="connsiteX0" fmla="*/ 0 w 2673572"/>
                <a:gd name="connsiteY0" fmla="*/ 0 h 212424"/>
                <a:gd name="connsiteX1" fmla="*/ 2673572 w 2673572"/>
                <a:gd name="connsiteY1" fmla="*/ 0 h 212424"/>
                <a:gd name="connsiteX2" fmla="*/ 2662629 w 2673572"/>
                <a:gd name="connsiteY2" fmla="*/ 54207 h 212424"/>
                <a:gd name="connsiteX3" fmla="*/ 2423935 w 2673572"/>
                <a:gd name="connsiteY3" fmla="*/ 212424 h 212424"/>
                <a:gd name="connsiteX4" fmla="*/ 249637 w 2673572"/>
                <a:gd name="connsiteY4" fmla="*/ 212424 h 212424"/>
                <a:gd name="connsiteX5" fmla="*/ 10944 w 2673572"/>
                <a:gd name="connsiteY5" fmla="*/ 54207 h 212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73572" h="212424">
                  <a:moveTo>
                    <a:pt x="0" y="0"/>
                  </a:moveTo>
                  <a:lnTo>
                    <a:pt x="2673572" y="0"/>
                  </a:lnTo>
                  <a:lnTo>
                    <a:pt x="2662629" y="54207"/>
                  </a:lnTo>
                  <a:cubicBezTo>
                    <a:pt x="2623302" y="147185"/>
                    <a:pt x="2531237" y="212424"/>
                    <a:pt x="2423935" y="212424"/>
                  </a:cubicBezTo>
                  <a:lnTo>
                    <a:pt x="249637" y="212424"/>
                  </a:lnTo>
                  <a:cubicBezTo>
                    <a:pt x="142335" y="212424"/>
                    <a:pt x="50270" y="147185"/>
                    <a:pt x="10944" y="54207"/>
                  </a:cubicBezTo>
                  <a:close/>
                </a:path>
              </a:pathLst>
            </a:custGeom>
            <a:gradFill>
              <a:gsLst>
                <a:gs pos="88000">
                  <a:srgbClr val="F2F2F2"/>
                </a:gs>
                <a:gs pos="12000">
                  <a:srgbClr val="F2F2F2"/>
                </a:gs>
                <a:gs pos="100000">
                  <a:srgbClr val="828282"/>
                </a:gs>
                <a:gs pos="0">
                  <a:srgbClr val="828282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grpSp>
          <p:nvGrpSpPr>
            <p:cNvPr id="15" name="Группа 26">
              <a:extLst>
                <a:ext uri="{FF2B5EF4-FFF2-40B4-BE49-F238E27FC236}">
                  <a16:creationId xmlns:a16="http://schemas.microsoft.com/office/drawing/2014/main" id="{B8E3ACDA-B4E1-047D-5FC6-61DE173F6AB2}"/>
                </a:ext>
              </a:extLst>
            </p:cNvPr>
            <p:cNvGrpSpPr/>
            <p:nvPr/>
          </p:nvGrpSpPr>
          <p:grpSpPr>
            <a:xfrm flipH="1">
              <a:off x="9572513" y="890239"/>
              <a:ext cx="23483" cy="22921"/>
              <a:chOff x="13422299" y="954496"/>
              <a:chExt cx="127026" cy="125005"/>
            </a:xfrm>
          </p:grpSpPr>
          <p:sp>
            <p:nvSpPr>
              <p:cNvPr id="16" name="Овал 29">
                <a:extLst>
                  <a:ext uri="{FF2B5EF4-FFF2-40B4-BE49-F238E27FC236}">
                    <a16:creationId xmlns:a16="http://schemas.microsoft.com/office/drawing/2014/main" id="{19AF8AD9-4EAF-CAAC-128E-F79E02B4957C}"/>
                  </a:ext>
                </a:extLst>
              </p:cNvPr>
              <p:cNvSpPr/>
              <p:nvPr/>
            </p:nvSpPr>
            <p:spPr>
              <a:xfrm>
                <a:off x="13422302" y="954496"/>
                <a:ext cx="127023" cy="125004"/>
              </a:xfrm>
              <a:prstGeom prst="ellipse">
                <a:avLst/>
              </a:prstGeom>
              <a:solidFill>
                <a:schemeClr val="bg1"/>
              </a:solidFill>
              <a:ln w="50800"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900"/>
              </a:p>
            </p:txBody>
          </p:sp>
          <p:sp>
            <p:nvSpPr>
              <p:cNvPr id="17" name="Овал 33">
                <a:extLst>
                  <a:ext uri="{FF2B5EF4-FFF2-40B4-BE49-F238E27FC236}">
                    <a16:creationId xmlns:a16="http://schemas.microsoft.com/office/drawing/2014/main" id="{0E24C6E6-DE93-E2B7-4A73-E3041F583127}"/>
                  </a:ext>
                </a:extLst>
              </p:cNvPr>
              <p:cNvSpPr/>
              <p:nvPr/>
            </p:nvSpPr>
            <p:spPr>
              <a:xfrm>
                <a:off x="13422299" y="954497"/>
                <a:ext cx="127026" cy="125004"/>
              </a:xfrm>
              <a:prstGeom prst="ellipse">
                <a:avLst/>
              </a:prstGeom>
              <a:solidFill>
                <a:srgbClr val="002060"/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900"/>
              </a:p>
            </p:txBody>
          </p:sp>
        </p:grpSp>
      </p:grpSp>
      <p:grpSp>
        <p:nvGrpSpPr>
          <p:cNvPr id="22" name="Group 22">
            <a:extLst>
              <a:ext uri="{FF2B5EF4-FFF2-40B4-BE49-F238E27FC236}">
                <a16:creationId xmlns:a16="http://schemas.microsoft.com/office/drawing/2014/main" id="{DDD80F8F-3AE2-6AFE-BCBE-22D89C08D943}"/>
              </a:ext>
            </a:extLst>
          </p:cNvPr>
          <p:cNvGrpSpPr>
            <a:grpSpLocks noChangeAspect="1"/>
          </p:cNvGrpSpPr>
          <p:nvPr/>
        </p:nvGrpSpPr>
        <p:grpSpPr>
          <a:xfrm>
            <a:off x="2037053" y="5717089"/>
            <a:ext cx="312000" cy="311952"/>
            <a:chOff x="3238499" y="8277225"/>
            <a:chExt cx="666750" cy="666750"/>
          </a:xfrm>
        </p:grpSpPr>
        <p:sp>
          <p:nvSpPr>
            <p:cNvPr id="23" name="Oval 23">
              <a:extLst>
                <a:ext uri="{FF2B5EF4-FFF2-40B4-BE49-F238E27FC236}">
                  <a16:creationId xmlns:a16="http://schemas.microsoft.com/office/drawing/2014/main" id="{4671B47F-1D9D-27BA-B543-04DC2C4720E3}"/>
                </a:ext>
              </a:extLst>
            </p:cNvPr>
            <p:cNvSpPr/>
            <p:nvPr/>
          </p:nvSpPr>
          <p:spPr>
            <a:xfrm>
              <a:off x="3238499" y="8277225"/>
              <a:ext cx="666750" cy="666750"/>
            </a:xfrm>
            <a:prstGeom prst="ellipse">
              <a:avLst/>
            </a:prstGeom>
            <a:solidFill>
              <a:schemeClr val="accent5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24" name="Freeform 24">
              <a:extLst>
                <a:ext uri="{FF2B5EF4-FFF2-40B4-BE49-F238E27FC236}">
                  <a16:creationId xmlns:a16="http://schemas.microsoft.com/office/drawing/2014/main" id="{ED0695BE-DCB1-D13F-528F-501BBBC007EE}"/>
                </a:ext>
              </a:extLst>
            </p:cNvPr>
            <p:cNvSpPr/>
            <p:nvPr/>
          </p:nvSpPr>
          <p:spPr bwMode="auto">
            <a:xfrm>
              <a:off x="3502483" y="8426894"/>
              <a:ext cx="189583" cy="367412"/>
            </a:xfrm>
            <a:custGeom>
              <a:avLst/>
              <a:gdLst>
                <a:gd name="T0" fmla="*/ 461 w 461"/>
                <a:gd name="T1" fmla="*/ 448 h 895"/>
                <a:gd name="T2" fmla="*/ 457 w 461"/>
                <a:gd name="T3" fmla="*/ 457 h 895"/>
                <a:gd name="T4" fmla="*/ 22 w 461"/>
                <a:gd name="T5" fmla="*/ 892 h 895"/>
                <a:gd name="T6" fmla="*/ 14 w 461"/>
                <a:gd name="T7" fmla="*/ 895 h 895"/>
                <a:gd name="T8" fmla="*/ 5 w 461"/>
                <a:gd name="T9" fmla="*/ 892 h 895"/>
                <a:gd name="T10" fmla="*/ 5 w 461"/>
                <a:gd name="T11" fmla="*/ 874 h 895"/>
                <a:gd name="T12" fmla="*/ 431 w 461"/>
                <a:gd name="T13" fmla="*/ 448 h 895"/>
                <a:gd name="T14" fmla="*/ 6 w 461"/>
                <a:gd name="T15" fmla="*/ 23 h 895"/>
                <a:gd name="T16" fmla="*/ 6 w 461"/>
                <a:gd name="T17" fmla="*/ 5 h 895"/>
                <a:gd name="T18" fmla="*/ 24 w 461"/>
                <a:gd name="T19" fmla="*/ 5 h 895"/>
                <a:gd name="T20" fmla="*/ 457 w 461"/>
                <a:gd name="T21" fmla="*/ 439 h 895"/>
                <a:gd name="T22" fmla="*/ 461 w 461"/>
                <a:gd name="T23" fmla="*/ 448 h 8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1" h="895">
                  <a:moveTo>
                    <a:pt x="461" y="448"/>
                  </a:moveTo>
                  <a:cubicBezTo>
                    <a:pt x="461" y="452"/>
                    <a:pt x="460" y="454"/>
                    <a:pt x="457" y="457"/>
                  </a:cubicBezTo>
                  <a:lnTo>
                    <a:pt x="22" y="892"/>
                  </a:lnTo>
                  <a:cubicBezTo>
                    <a:pt x="20" y="894"/>
                    <a:pt x="16" y="895"/>
                    <a:pt x="14" y="895"/>
                  </a:cubicBezTo>
                  <a:cubicBezTo>
                    <a:pt x="11" y="895"/>
                    <a:pt x="7" y="894"/>
                    <a:pt x="5" y="892"/>
                  </a:cubicBezTo>
                  <a:cubicBezTo>
                    <a:pt x="0" y="887"/>
                    <a:pt x="0" y="879"/>
                    <a:pt x="5" y="874"/>
                  </a:cubicBezTo>
                  <a:lnTo>
                    <a:pt x="431" y="448"/>
                  </a:lnTo>
                  <a:lnTo>
                    <a:pt x="6" y="23"/>
                  </a:lnTo>
                  <a:cubicBezTo>
                    <a:pt x="1" y="18"/>
                    <a:pt x="1" y="10"/>
                    <a:pt x="6" y="5"/>
                  </a:cubicBezTo>
                  <a:cubicBezTo>
                    <a:pt x="11" y="0"/>
                    <a:pt x="19" y="0"/>
                    <a:pt x="24" y="5"/>
                  </a:cubicBezTo>
                  <a:lnTo>
                    <a:pt x="457" y="439"/>
                  </a:lnTo>
                  <a:cubicBezTo>
                    <a:pt x="460" y="442"/>
                    <a:pt x="461" y="444"/>
                    <a:pt x="461" y="448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</a:ln>
          </p:spPr>
          <p:txBody>
            <a:bodyPr vert="horz" wrap="square" lIns="137160" tIns="68580" rIns="137160" bIns="68580" numCol="1" anchor="t" anchorCtr="0" compatLnSpc="1"/>
            <a:lstStyle/>
            <a:p>
              <a:endParaRPr lang="en-US" sz="2700"/>
            </a:p>
          </p:txBody>
        </p:sp>
      </p:grpSp>
      <p:sp>
        <p:nvSpPr>
          <p:cNvPr id="26" name="PA_TextPlaceholder 1">
            <a:extLst>
              <a:ext uri="{FF2B5EF4-FFF2-40B4-BE49-F238E27FC236}">
                <a16:creationId xmlns:a16="http://schemas.microsoft.com/office/drawing/2014/main" id="{D74F6F4A-E8BA-DA88-DFD0-1AA1CCEE232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216357" y="2871458"/>
            <a:ext cx="4051121" cy="2457579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优点：</a:t>
            </a:r>
            <a:endParaRPr lang="en-US" altLang="zh-CN" sz="1400" dirty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作为开源多模态标杆，便于社区二次开发和商业应用；</a:t>
            </a:r>
            <a:b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对于商业二次开发具有较高的灵活性和拓展性。</a:t>
            </a:r>
            <a:endParaRPr lang="en-US" altLang="zh-CN" sz="1400" dirty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缺点：</a:t>
            </a:r>
            <a:endParaRPr lang="en-US" altLang="zh-CN" sz="1400" dirty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部署要求高，至少需要</a:t>
            </a: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8×A100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显卡，成本较高；</a:t>
            </a:r>
            <a:b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中文语料比例较低（不足</a:t>
            </a: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3%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），在中文场景下可能出现语义理解不足的问题</a:t>
            </a:r>
            <a:endParaRPr lang="en-US" sz="14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27" name="PA_TextPlaceholder 2">
            <a:extLst>
              <a:ext uri="{FF2B5EF4-FFF2-40B4-BE49-F238E27FC236}">
                <a16:creationId xmlns:a16="http://schemas.microsoft.com/office/drawing/2014/main" id="{0955A099-C6EA-F27F-101D-3469D547DE0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84976" y="1597191"/>
            <a:ext cx="4051121" cy="1503831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3600" b="1" dirty="0">
                <a:solidFill>
                  <a:srgbClr val="404040"/>
                </a:solidFill>
                <a:latin typeface="Inter"/>
              </a:rPr>
              <a:t>Llama</a:t>
            </a:r>
            <a:endParaRPr lang="en-US" sz="3600" b="1" dirty="0">
              <a:solidFill>
                <a:srgbClr val="404040"/>
              </a:solidFill>
              <a:latin typeface="Inter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C4F9807E-4A83-954F-D52D-E8688CF53DB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82556" y="1627209"/>
            <a:ext cx="7421764" cy="3904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0021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3000"/>
    </mc:Choice>
    <mc:Fallback xmlns="">
      <p:transition advTm="3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ur="500" decel="5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F8A2E7-505C-006C-3192-7DE9CCCD7D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8">
            <a:extLst>
              <a:ext uri="{FF2B5EF4-FFF2-40B4-BE49-F238E27FC236}">
                <a16:creationId xmlns:a16="http://schemas.microsoft.com/office/drawing/2014/main" id="{57FCD3DB-4F6B-7704-7249-7AAA67E65424}"/>
              </a:ext>
            </a:extLst>
          </p:cNvPr>
          <p:cNvSpPr/>
          <p:nvPr/>
        </p:nvSpPr>
        <p:spPr>
          <a:xfrm>
            <a:off x="5732640" y="0"/>
            <a:ext cx="6459359" cy="6858000"/>
          </a:xfrm>
          <a:prstGeom prst="rect">
            <a:avLst/>
          </a:prstGeom>
          <a:gradFill>
            <a:gsLst>
              <a:gs pos="100000">
                <a:schemeClr val="tx2">
                  <a:lumMod val="60000"/>
                  <a:lumOff val="40000"/>
                </a:schemeClr>
              </a:gs>
              <a:gs pos="0">
                <a:schemeClr val="tx2">
                  <a:lumMod val="20000"/>
                  <a:lumOff val="8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9" tIns="22859" rIns="45719" bIns="22859" rtlCol="0" anchor="ctr"/>
          <a:lstStyle/>
          <a:p>
            <a:pPr algn="ctr"/>
            <a:endParaRPr lang="en-US"/>
          </a:p>
        </p:txBody>
      </p:sp>
      <p:grpSp>
        <p:nvGrpSpPr>
          <p:cNvPr id="9" name="Группа 1">
            <a:extLst>
              <a:ext uri="{FF2B5EF4-FFF2-40B4-BE49-F238E27FC236}">
                <a16:creationId xmlns:a16="http://schemas.microsoft.com/office/drawing/2014/main" id="{2C31A7C2-7DAD-2F01-1042-4C7B3CA0703E}"/>
              </a:ext>
            </a:extLst>
          </p:cNvPr>
          <p:cNvGrpSpPr/>
          <p:nvPr/>
        </p:nvGrpSpPr>
        <p:grpSpPr>
          <a:xfrm>
            <a:off x="4901371" y="856779"/>
            <a:ext cx="9773240" cy="5561188"/>
            <a:chOff x="4703929" y="717077"/>
            <a:chExt cx="9773238" cy="5561188"/>
          </a:xfrm>
        </p:grpSpPr>
        <p:sp>
          <p:nvSpPr>
            <p:cNvPr id="11" name="Полилиния 34">
              <a:extLst>
                <a:ext uri="{FF2B5EF4-FFF2-40B4-BE49-F238E27FC236}">
                  <a16:creationId xmlns:a16="http://schemas.microsoft.com/office/drawing/2014/main" id="{41A4F6ED-581F-ADAC-3A66-5BA59B8F9C3B}"/>
                </a:ext>
              </a:extLst>
            </p:cNvPr>
            <p:cNvSpPr/>
            <p:nvPr/>
          </p:nvSpPr>
          <p:spPr>
            <a:xfrm>
              <a:off x="5555970" y="717077"/>
              <a:ext cx="7984744" cy="5414294"/>
            </a:xfrm>
            <a:custGeom>
              <a:avLst/>
              <a:gdLst>
                <a:gd name="connsiteX0" fmla="*/ 593737 w 15796902"/>
                <a:gd name="connsiteY0" fmla="*/ 0 h 10799762"/>
                <a:gd name="connsiteX1" fmla="*/ 2968613 w 15796902"/>
                <a:gd name="connsiteY1" fmla="*/ 0 h 10799762"/>
                <a:gd name="connsiteX2" fmla="*/ 2968615 w 15796902"/>
                <a:gd name="connsiteY2" fmla="*/ 0 h 10799762"/>
                <a:gd name="connsiteX3" fmla="*/ 12828290 w 15796902"/>
                <a:gd name="connsiteY3" fmla="*/ 0 h 10799762"/>
                <a:gd name="connsiteX4" fmla="*/ 14287500 w 15796902"/>
                <a:gd name="connsiteY4" fmla="*/ 0 h 10799762"/>
                <a:gd name="connsiteX5" fmla="*/ 15203166 w 15796902"/>
                <a:gd name="connsiteY5" fmla="*/ 0 h 10799762"/>
                <a:gd name="connsiteX6" fmla="*/ 15796902 w 15796902"/>
                <a:gd name="connsiteY6" fmla="*/ 593737 h 10799762"/>
                <a:gd name="connsiteX7" fmla="*/ 15796902 w 15796902"/>
                <a:gd name="connsiteY7" fmla="*/ 5080012 h 10799762"/>
                <a:gd name="connsiteX8" fmla="*/ 15796902 w 15796902"/>
                <a:gd name="connsiteY8" fmla="*/ 5719750 h 10799762"/>
                <a:gd name="connsiteX9" fmla="*/ 15796902 w 15796902"/>
                <a:gd name="connsiteY9" fmla="*/ 10206025 h 10799762"/>
                <a:gd name="connsiteX10" fmla="*/ 15203166 w 15796902"/>
                <a:gd name="connsiteY10" fmla="*/ 10799762 h 10799762"/>
                <a:gd name="connsiteX11" fmla="*/ 14287500 w 15796902"/>
                <a:gd name="connsiteY11" fmla="*/ 10799762 h 10799762"/>
                <a:gd name="connsiteX12" fmla="*/ 12828290 w 15796902"/>
                <a:gd name="connsiteY12" fmla="*/ 10799762 h 10799762"/>
                <a:gd name="connsiteX13" fmla="*/ 2968613 w 15796902"/>
                <a:gd name="connsiteY13" fmla="*/ 10799762 h 10799762"/>
                <a:gd name="connsiteX14" fmla="*/ 1781175 w 15796902"/>
                <a:gd name="connsiteY14" fmla="*/ 10799762 h 10799762"/>
                <a:gd name="connsiteX15" fmla="*/ 593737 w 15796902"/>
                <a:gd name="connsiteY15" fmla="*/ 10799762 h 10799762"/>
                <a:gd name="connsiteX16" fmla="*/ 0 w 15796902"/>
                <a:gd name="connsiteY16" fmla="*/ 10206025 h 10799762"/>
                <a:gd name="connsiteX17" fmla="*/ 0 w 15796902"/>
                <a:gd name="connsiteY17" fmla="*/ 5719750 h 10799762"/>
                <a:gd name="connsiteX18" fmla="*/ 0 w 15796902"/>
                <a:gd name="connsiteY18" fmla="*/ 5080012 h 10799762"/>
                <a:gd name="connsiteX19" fmla="*/ 0 w 15796902"/>
                <a:gd name="connsiteY19" fmla="*/ 593737 h 10799762"/>
                <a:gd name="connsiteX20" fmla="*/ 593737 w 15796902"/>
                <a:gd name="connsiteY20" fmla="*/ 0 h 10799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5796902" h="10799762">
                  <a:moveTo>
                    <a:pt x="593737" y="0"/>
                  </a:moveTo>
                  <a:lnTo>
                    <a:pt x="2968613" y="0"/>
                  </a:lnTo>
                  <a:lnTo>
                    <a:pt x="2968615" y="0"/>
                  </a:lnTo>
                  <a:lnTo>
                    <a:pt x="12828290" y="0"/>
                  </a:lnTo>
                  <a:lnTo>
                    <a:pt x="14287500" y="0"/>
                  </a:lnTo>
                  <a:lnTo>
                    <a:pt x="15203166" y="0"/>
                  </a:lnTo>
                  <a:cubicBezTo>
                    <a:pt x="15531078" y="0"/>
                    <a:pt x="15796902" y="265825"/>
                    <a:pt x="15796902" y="593737"/>
                  </a:cubicBezTo>
                  <a:lnTo>
                    <a:pt x="15796902" y="5080012"/>
                  </a:lnTo>
                  <a:lnTo>
                    <a:pt x="15796902" y="5719750"/>
                  </a:lnTo>
                  <a:lnTo>
                    <a:pt x="15796902" y="10206025"/>
                  </a:lnTo>
                  <a:cubicBezTo>
                    <a:pt x="15796902" y="10533937"/>
                    <a:pt x="15531078" y="10799762"/>
                    <a:pt x="15203166" y="10799762"/>
                  </a:cubicBezTo>
                  <a:lnTo>
                    <a:pt x="14287500" y="10799762"/>
                  </a:lnTo>
                  <a:lnTo>
                    <a:pt x="12828290" y="10799762"/>
                  </a:lnTo>
                  <a:lnTo>
                    <a:pt x="2968613" y="10799762"/>
                  </a:lnTo>
                  <a:lnTo>
                    <a:pt x="1781175" y="10799762"/>
                  </a:lnTo>
                  <a:lnTo>
                    <a:pt x="593737" y="10799762"/>
                  </a:lnTo>
                  <a:cubicBezTo>
                    <a:pt x="265825" y="10799762"/>
                    <a:pt x="0" y="10533937"/>
                    <a:pt x="0" y="10206025"/>
                  </a:cubicBezTo>
                  <a:lnTo>
                    <a:pt x="0" y="5719750"/>
                  </a:lnTo>
                  <a:lnTo>
                    <a:pt x="0" y="5080012"/>
                  </a:lnTo>
                  <a:lnTo>
                    <a:pt x="0" y="593737"/>
                  </a:lnTo>
                  <a:cubicBezTo>
                    <a:pt x="0" y="265825"/>
                    <a:pt x="265825" y="0"/>
                    <a:pt x="593737" y="0"/>
                  </a:cubicBezTo>
                  <a:close/>
                </a:path>
              </a:pathLst>
            </a:custGeom>
            <a:solidFill>
              <a:srgbClr val="3838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12" name="Полилиния 36">
              <a:extLst>
                <a:ext uri="{FF2B5EF4-FFF2-40B4-BE49-F238E27FC236}">
                  <a16:creationId xmlns:a16="http://schemas.microsoft.com/office/drawing/2014/main" id="{3A9539DF-BF01-BC65-4123-1C0D0A408BC8}"/>
                </a:ext>
              </a:extLst>
            </p:cNvPr>
            <p:cNvSpPr/>
            <p:nvPr/>
          </p:nvSpPr>
          <p:spPr>
            <a:xfrm>
              <a:off x="4703929" y="6202089"/>
              <a:ext cx="9773238" cy="76176"/>
            </a:xfrm>
            <a:custGeom>
              <a:avLst/>
              <a:gdLst>
                <a:gd name="connsiteX0" fmla="*/ 0 w 19335232"/>
                <a:gd name="connsiteY0" fmla="*/ 0 h 333694"/>
                <a:gd name="connsiteX1" fmla="*/ 19335232 w 19335232"/>
                <a:gd name="connsiteY1" fmla="*/ 0 h 333694"/>
                <a:gd name="connsiteX2" fmla="*/ 19322694 w 19335232"/>
                <a:gd name="connsiteY2" fmla="*/ 40390 h 333694"/>
                <a:gd name="connsiteX3" fmla="*/ 18880202 w 19335232"/>
                <a:gd name="connsiteY3" fmla="*/ 333694 h 333694"/>
                <a:gd name="connsiteX4" fmla="*/ 455030 w 19335232"/>
                <a:gd name="connsiteY4" fmla="*/ 333694 h 333694"/>
                <a:gd name="connsiteX5" fmla="*/ 12538 w 19335232"/>
                <a:gd name="connsiteY5" fmla="*/ 40390 h 333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335232" h="333694">
                  <a:moveTo>
                    <a:pt x="0" y="0"/>
                  </a:moveTo>
                  <a:lnTo>
                    <a:pt x="19335232" y="0"/>
                  </a:lnTo>
                  <a:lnTo>
                    <a:pt x="19322694" y="40390"/>
                  </a:lnTo>
                  <a:cubicBezTo>
                    <a:pt x="19249792" y="212753"/>
                    <a:pt x="19079120" y="333694"/>
                    <a:pt x="18880202" y="333694"/>
                  </a:cubicBezTo>
                  <a:lnTo>
                    <a:pt x="455030" y="333694"/>
                  </a:lnTo>
                  <a:cubicBezTo>
                    <a:pt x="256112" y="333694"/>
                    <a:pt x="85441" y="212753"/>
                    <a:pt x="12538" y="40390"/>
                  </a:cubicBezTo>
                  <a:close/>
                </a:path>
              </a:pathLst>
            </a:custGeom>
            <a:gradFill flip="none" rotWithShape="1">
              <a:gsLst>
                <a:gs pos="89000">
                  <a:srgbClr val="828282"/>
                </a:gs>
                <a:gs pos="0">
                  <a:srgbClr val="C5C5C5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13" name="Прямоугольник 6">
              <a:extLst>
                <a:ext uri="{FF2B5EF4-FFF2-40B4-BE49-F238E27FC236}">
                  <a16:creationId xmlns:a16="http://schemas.microsoft.com/office/drawing/2014/main" id="{D704A567-9305-4344-2584-FA00FD25CBFE}"/>
                </a:ext>
              </a:extLst>
            </p:cNvPr>
            <p:cNvSpPr/>
            <p:nvPr/>
          </p:nvSpPr>
          <p:spPr>
            <a:xfrm>
              <a:off x="4703929" y="6015623"/>
              <a:ext cx="9773238" cy="186467"/>
            </a:xfrm>
            <a:prstGeom prst="rect">
              <a:avLst/>
            </a:prstGeom>
            <a:gradFill flip="none" rotWithShape="1">
              <a:gsLst>
                <a:gs pos="2000">
                  <a:srgbClr val="D5D5D5"/>
                </a:gs>
                <a:gs pos="1000">
                  <a:srgbClr val="F2F2F2"/>
                </a:gs>
                <a:gs pos="0">
                  <a:schemeClr val="tx1">
                    <a:alpha val="5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14" name="Полилиния 37">
              <a:extLst>
                <a:ext uri="{FF2B5EF4-FFF2-40B4-BE49-F238E27FC236}">
                  <a16:creationId xmlns:a16="http://schemas.microsoft.com/office/drawing/2014/main" id="{E173E257-4D9A-2974-BCD4-0ECD7C55711D}"/>
                </a:ext>
              </a:extLst>
            </p:cNvPr>
            <p:cNvSpPr/>
            <p:nvPr/>
          </p:nvSpPr>
          <p:spPr>
            <a:xfrm>
              <a:off x="8891012" y="6018701"/>
              <a:ext cx="1351391" cy="106495"/>
            </a:xfrm>
            <a:custGeom>
              <a:avLst/>
              <a:gdLst>
                <a:gd name="connsiteX0" fmla="*/ 0 w 2673572"/>
                <a:gd name="connsiteY0" fmla="*/ 0 h 212424"/>
                <a:gd name="connsiteX1" fmla="*/ 2673572 w 2673572"/>
                <a:gd name="connsiteY1" fmla="*/ 0 h 212424"/>
                <a:gd name="connsiteX2" fmla="*/ 2662629 w 2673572"/>
                <a:gd name="connsiteY2" fmla="*/ 54207 h 212424"/>
                <a:gd name="connsiteX3" fmla="*/ 2423935 w 2673572"/>
                <a:gd name="connsiteY3" fmla="*/ 212424 h 212424"/>
                <a:gd name="connsiteX4" fmla="*/ 249637 w 2673572"/>
                <a:gd name="connsiteY4" fmla="*/ 212424 h 212424"/>
                <a:gd name="connsiteX5" fmla="*/ 10944 w 2673572"/>
                <a:gd name="connsiteY5" fmla="*/ 54207 h 212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73572" h="212424">
                  <a:moveTo>
                    <a:pt x="0" y="0"/>
                  </a:moveTo>
                  <a:lnTo>
                    <a:pt x="2673572" y="0"/>
                  </a:lnTo>
                  <a:lnTo>
                    <a:pt x="2662629" y="54207"/>
                  </a:lnTo>
                  <a:cubicBezTo>
                    <a:pt x="2623302" y="147185"/>
                    <a:pt x="2531237" y="212424"/>
                    <a:pt x="2423935" y="212424"/>
                  </a:cubicBezTo>
                  <a:lnTo>
                    <a:pt x="249637" y="212424"/>
                  </a:lnTo>
                  <a:cubicBezTo>
                    <a:pt x="142335" y="212424"/>
                    <a:pt x="50270" y="147185"/>
                    <a:pt x="10944" y="54207"/>
                  </a:cubicBezTo>
                  <a:close/>
                </a:path>
              </a:pathLst>
            </a:custGeom>
            <a:gradFill>
              <a:gsLst>
                <a:gs pos="88000">
                  <a:srgbClr val="F2F2F2"/>
                </a:gs>
                <a:gs pos="12000">
                  <a:srgbClr val="F2F2F2"/>
                </a:gs>
                <a:gs pos="100000">
                  <a:srgbClr val="828282"/>
                </a:gs>
                <a:gs pos="0">
                  <a:srgbClr val="828282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grpSp>
          <p:nvGrpSpPr>
            <p:cNvPr id="15" name="Группа 26">
              <a:extLst>
                <a:ext uri="{FF2B5EF4-FFF2-40B4-BE49-F238E27FC236}">
                  <a16:creationId xmlns:a16="http://schemas.microsoft.com/office/drawing/2014/main" id="{DE48C333-6811-1858-DE0F-9F1B916C81C9}"/>
                </a:ext>
              </a:extLst>
            </p:cNvPr>
            <p:cNvGrpSpPr/>
            <p:nvPr/>
          </p:nvGrpSpPr>
          <p:grpSpPr>
            <a:xfrm flipH="1">
              <a:off x="9572513" y="890239"/>
              <a:ext cx="23483" cy="22921"/>
              <a:chOff x="13422299" y="954496"/>
              <a:chExt cx="127026" cy="125005"/>
            </a:xfrm>
          </p:grpSpPr>
          <p:sp>
            <p:nvSpPr>
              <p:cNvPr id="16" name="Овал 29">
                <a:extLst>
                  <a:ext uri="{FF2B5EF4-FFF2-40B4-BE49-F238E27FC236}">
                    <a16:creationId xmlns:a16="http://schemas.microsoft.com/office/drawing/2014/main" id="{152C0A1B-B72A-97E7-7771-D0D2EBCDDB94}"/>
                  </a:ext>
                </a:extLst>
              </p:cNvPr>
              <p:cNvSpPr/>
              <p:nvPr/>
            </p:nvSpPr>
            <p:spPr>
              <a:xfrm>
                <a:off x="13422302" y="954496"/>
                <a:ext cx="127023" cy="125004"/>
              </a:xfrm>
              <a:prstGeom prst="ellipse">
                <a:avLst/>
              </a:prstGeom>
              <a:solidFill>
                <a:schemeClr val="bg1"/>
              </a:solidFill>
              <a:ln w="50800"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900"/>
              </a:p>
            </p:txBody>
          </p:sp>
          <p:sp>
            <p:nvSpPr>
              <p:cNvPr id="17" name="Овал 33">
                <a:extLst>
                  <a:ext uri="{FF2B5EF4-FFF2-40B4-BE49-F238E27FC236}">
                    <a16:creationId xmlns:a16="http://schemas.microsoft.com/office/drawing/2014/main" id="{06E843F8-1B03-A0F0-3069-D7FB170F8FC4}"/>
                  </a:ext>
                </a:extLst>
              </p:cNvPr>
              <p:cNvSpPr/>
              <p:nvPr/>
            </p:nvSpPr>
            <p:spPr>
              <a:xfrm>
                <a:off x="13422299" y="954497"/>
                <a:ext cx="127026" cy="125004"/>
              </a:xfrm>
              <a:prstGeom prst="ellipse">
                <a:avLst/>
              </a:prstGeom>
              <a:solidFill>
                <a:srgbClr val="002060"/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900"/>
              </a:p>
            </p:txBody>
          </p:sp>
        </p:grpSp>
      </p:grpSp>
      <p:grpSp>
        <p:nvGrpSpPr>
          <p:cNvPr id="22" name="Group 22">
            <a:extLst>
              <a:ext uri="{FF2B5EF4-FFF2-40B4-BE49-F238E27FC236}">
                <a16:creationId xmlns:a16="http://schemas.microsoft.com/office/drawing/2014/main" id="{04B901F3-18C0-1630-7779-A7A9CB05F9DF}"/>
              </a:ext>
            </a:extLst>
          </p:cNvPr>
          <p:cNvGrpSpPr>
            <a:grpSpLocks noChangeAspect="1"/>
          </p:cNvGrpSpPr>
          <p:nvPr/>
        </p:nvGrpSpPr>
        <p:grpSpPr>
          <a:xfrm>
            <a:off x="2037053" y="5717089"/>
            <a:ext cx="312000" cy="311952"/>
            <a:chOff x="3238499" y="8277225"/>
            <a:chExt cx="666750" cy="666750"/>
          </a:xfrm>
        </p:grpSpPr>
        <p:sp>
          <p:nvSpPr>
            <p:cNvPr id="23" name="Oval 23">
              <a:extLst>
                <a:ext uri="{FF2B5EF4-FFF2-40B4-BE49-F238E27FC236}">
                  <a16:creationId xmlns:a16="http://schemas.microsoft.com/office/drawing/2014/main" id="{FF493008-6C35-7067-5F30-E763A1E1A1C3}"/>
                </a:ext>
              </a:extLst>
            </p:cNvPr>
            <p:cNvSpPr/>
            <p:nvPr/>
          </p:nvSpPr>
          <p:spPr>
            <a:xfrm>
              <a:off x="3238499" y="8277225"/>
              <a:ext cx="666750" cy="666750"/>
            </a:xfrm>
            <a:prstGeom prst="ellipse">
              <a:avLst/>
            </a:prstGeom>
            <a:solidFill>
              <a:schemeClr val="accent5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24" name="Freeform 24">
              <a:extLst>
                <a:ext uri="{FF2B5EF4-FFF2-40B4-BE49-F238E27FC236}">
                  <a16:creationId xmlns:a16="http://schemas.microsoft.com/office/drawing/2014/main" id="{2F5E28AF-32D8-1FCF-B457-19CD8EB2153C}"/>
                </a:ext>
              </a:extLst>
            </p:cNvPr>
            <p:cNvSpPr/>
            <p:nvPr/>
          </p:nvSpPr>
          <p:spPr bwMode="auto">
            <a:xfrm>
              <a:off x="3502483" y="8426894"/>
              <a:ext cx="189583" cy="367412"/>
            </a:xfrm>
            <a:custGeom>
              <a:avLst/>
              <a:gdLst>
                <a:gd name="T0" fmla="*/ 461 w 461"/>
                <a:gd name="T1" fmla="*/ 448 h 895"/>
                <a:gd name="T2" fmla="*/ 457 w 461"/>
                <a:gd name="T3" fmla="*/ 457 h 895"/>
                <a:gd name="T4" fmla="*/ 22 w 461"/>
                <a:gd name="T5" fmla="*/ 892 h 895"/>
                <a:gd name="T6" fmla="*/ 14 w 461"/>
                <a:gd name="T7" fmla="*/ 895 h 895"/>
                <a:gd name="T8" fmla="*/ 5 w 461"/>
                <a:gd name="T9" fmla="*/ 892 h 895"/>
                <a:gd name="T10" fmla="*/ 5 w 461"/>
                <a:gd name="T11" fmla="*/ 874 h 895"/>
                <a:gd name="T12" fmla="*/ 431 w 461"/>
                <a:gd name="T13" fmla="*/ 448 h 895"/>
                <a:gd name="T14" fmla="*/ 6 w 461"/>
                <a:gd name="T15" fmla="*/ 23 h 895"/>
                <a:gd name="T16" fmla="*/ 6 w 461"/>
                <a:gd name="T17" fmla="*/ 5 h 895"/>
                <a:gd name="T18" fmla="*/ 24 w 461"/>
                <a:gd name="T19" fmla="*/ 5 h 895"/>
                <a:gd name="T20" fmla="*/ 457 w 461"/>
                <a:gd name="T21" fmla="*/ 439 h 895"/>
                <a:gd name="T22" fmla="*/ 461 w 461"/>
                <a:gd name="T23" fmla="*/ 448 h 8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1" h="895">
                  <a:moveTo>
                    <a:pt x="461" y="448"/>
                  </a:moveTo>
                  <a:cubicBezTo>
                    <a:pt x="461" y="452"/>
                    <a:pt x="460" y="454"/>
                    <a:pt x="457" y="457"/>
                  </a:cubicBezTo>
                  <a:lnTo>
                    <a:pt x="22" y="892"/>
                  </a:lnTo>
                  <a:cubicBezTo>
                    <a:pt x="20" y="894"/>
                    <a:pt x="16" y="895"/>
                    <a:pt x="14" y="895"/>
                  </a:cubicBezTo>
                  <a:cubicBezTo>
                    <a:pt x="11" y="895"/>
                    <a:pt x="7" y="894"/>
                    <a:pt x="5" y="892"/>
                  </a:cubicBezTo>
                  <a:cubicBezTo>
                    <a:pt x="0" y="887"/>
                    <a:pt x="0" y="879"/>
                    <a:pt x="5" y="874"/>
                  </a:cubicBezTo>
                  <a:lnTo>
                    <a:pt x="431" y="448"/>
                  </a:lnTo>
                  <a:lnTo>
                    <a:pt x="6" y="23"/>
                  </a:lnTo>
                  <a:cubicBezTo>
                    <a:pt x="1" y="18"/>
                    <a:pt x="1" y="10"/>
                    <a:pt x="6" y="5"/>
                  </a:cubicBezTo>
                  <a:cubicBezTo>
                    <a:pt x="11" y="0"/>
                    <a:pt x="19" y="0"/>
                    <a:pt x="24" y="5"/>
                  </a:cubicBezTo>
                  <a:lnTo>
                    <a:pt x="457" y="439"/>
                  </a:lnTo>
                  <a:cubicBezTo>
                    <a:pt x="460" y="442"/>
                    <a:pt x="461" y="444"/>
                    <a:pt x="461" y="448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</a:ln>
          </p:spPr>
          <p:txBody>
            <a:bodyPr vert="horz" wrap="square" lIns="137160" tIns="68580" rIns="137160" bIns="68580" numCol="1" anchor="t" anchorCtr="0" compatLnSpc="1"/>
            <a:lstStyle/>
            <a:p>
              <a:endParaRPr lang="en-US" sz="2700"/>
            </a:p>
          </p:txBody>
        </p:sp>
      </p:grpSp>
      <p:sp>
        <p:nvSpPr>
          <p:cNvPr id="26" name="PA_TextPlaceholder 1">
            <a:extLst>
              <a:ext uri="{FF2B5EF4-FFF2-40B4-BE49-F238E27FC236}">
                <a16:creationId xmlns:a16="http://schemas.microsoft.com/office/drawing/2014/main" id="{656E8113-C30A-FA90-E6C3-36B28AF6EF59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216357" y="2871458"/>
            <a:ext cx="4051121" cy="2457579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优点：</a:t>
            </a:r>
            <a:endParaRPr lang="en-US" altLang="zh-CN" sz="1400" dirty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开源视频生成框架灵活，用户可根据需求进行二次开发与本地部署；</a:t>
            </a:r>
            <a:b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灵活性强，适用于定制化视频生成任务。</a:t>
            </a:r>
            <a:endParaRPr lang="en-US" altLang="zh-CN" sz="1400" dirty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缺点：</a:t>
            </a:r>
            <a:endParaRPr lang="en-US" altLang="zh-CN" sz="1400" dirty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目前生成视频时长仅有</a:t>
            </a: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5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秒，限制了长视频制作需求；</a:t>
            </a:r>
            <a:b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对硬件要求极高（显存需超过</a:t>
            </a: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48GB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），普通用户部署门槛较高</a:t>
            </a:r>
            <a:endParaRPr lang="en-US" sz="14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27" name="PA_TextPlaceholder 2">
            <a:extLst>
              <a:ext uri="{FF2B5EF4-FFF2-40B4-BE49-F238E27FC236}">
                <a16:creationId xmlns:a16="http://schemas.microsoft.com/office/drawing/2014/main" id="{8D2E4FD7-5BF7-5876-020C-3EEB8572F02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84976" y="1597191"/>
            <a:ext cx="4051121" cy="1503831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3600" b="1" dirty="0">
                <a:solidFill>
                  <a:srgbClr val="404040"/>
                </a:solidFill>
                <a:latin typeface="Inter"/>
              </a:rPr>
              <a:t>Stable Video </a:t>
            </a:r>
            <a:endParaRPr lang="en-US" sz="3600" b="1" dirty="0">
              <a:solidFill>
                <a:srgbClr val="404040"/>
              </a:solidFill>
              <a:latin typeface="Inter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F32EC03B-9735-882C-6CAF-05BD1E7725C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58768" y="1783392"/>
            <a:ext cx="7610764" cy="4003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0858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3000"/>
    </mc:Choice>
    <mc:Fallback xmlns="">
      <p:transition advTm="3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ur="500" decel="5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FFD47F-8DD5-DAC9-242B-4622A5A9FC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8">
            <a:extLst>
              <a:ext uri="{FF2B5EF4-FFF2-40B4-BE49-F238E27FC236}">
                <a16:creationId xmlns:a16="http://schemas.microsoft.com/office/drawing/2014/main" id="{A0C296FC-3CC3-DF4C-1CDA-93CDC7CD6789}"/>
              </a:ext>
            </a:extLst>
          </p:cNvPr>
          <p:cNvSpPr/>
          <p:nvPr/>
        </p:nvSpPr>
        <p:spPr>
          <a:xfrm>
            <a:off x="5732640" y="0"/>
            <a:ext cx="6459359" cy="6858000"/>
          </a:xfrm>
          <a:prstGeom prst="rect">
            <a:avLst/>
          </a:prstGeom>
          <a:gradFill>
            <a:gsLst>
              <a:gs pos="100000">
                <a:schemeClr val="tx2">
                  <a:lumMod val="60000"/>
                  <a:lumOff val="40000"/>
                </a:schemeClr>
              </a:gs>
              <a:gs pos="0">
                <a:schemeClr val="tx2">
                  <a:lumMod val="20000"/>
                  <a:lumOff val="8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9" tIns="22859" rIns="45719" bIns="22859" rtlCol="0" anchor="ctr"/>
          <a:lstStyle/>
          <a:p>
            <a:pPr algn="ctr"/>
            <a:endParaRPr lang="en-US"/>
          </a:p>
        </p:txBody>
      </p:sp>
      <p:grpSp>
        <p:nvGrpSpPr>
          <p:cNvPr id="9" name="Группа 1">
            <a:extLst>
              <a:ext uri="{FF2B5EF4-FFF2-40B4-BE49-F238E27FC236}">
                <a16:creationId xmlns:a16="http://schemas.microsoft.com/office/drawing/2014/main" id="{F6FF691F-F65E-B841-752A-9E61D5BA2367}"/>
              </a:ext>
            </a:extLst>
          </p:cNvPr>
          <p:cNvGrpSpPr/>
          <p:nvPr/>
        </p:nvGrpSpPr>
        <p:grpSpPr>
          <a:xfrm>
            <a:off x="4901371" y="856779"/>
            <a:ext cx="9773240" cy="5561188"/>
            <a:chOff x="4703929" y="717077"/>
            <a:chExt cx="9773238" cy="5561188"/>
          </a:xfrm>
        </p:grpSpPr>
        <p:sp>
          <p:nvSpPr>
            <p:cNvPr id="11" name="Полилиния 34">
              <a:extLst>
                <a:ext uri="{FF2B5EF4-FFF2-40B4-BE49-F238E27FC236}">
                  <a16:creationId xmlns:a16="http://schemas.microsoft.com/office/drawing/2014/main" id="{9EA18043-D111-4DC7-5F90-58420604FF9C}"/>
                </a:ext>
              </a:extLst>
            </p:cNvPr>
            <p:cNvSpPr/>
            <p:nvPr/>
          </p:nvSpPr>
          <p:spPr>
            <a:xfrm>
              <a:off x="5555970" y="717077"/>
              <a:ext cx="7984744" cy="5414294"/>
            </a:xfrm>
            <a:custGeom>
              <a:avLst/>
              <a:gdLst>
                <a:gd name="connsiteX0" fmla="*/ 593737 w 15796902"/>
                <a:gd name="connsiteY0" fmla="*/ 0 h 10799762"/>
                <a:gd name="connsiteX1" fmla="*/ 2968613 w 15796902"/>
                <a:gd name="connsiteY1" fmla="*/ 0 h 10799762"/>
                <a:gd name="connsiteX2" fmla="*/ 2968615 w 15796902"/>
                <a:gd name="connsiteY2" fmla="*/ 0 h 10799762"/>
                <a:gd name="connsiteX3" fmla="*/ 12828290 w 15796902"/>
                <a:gd name="connsiteY3" fmla="*/ 0 h 10799762"/>
                <a:gd name="connsiteX4" fmla="*/ 14287500 w 15796902"/>
                <a:gd name="connsiteY4" fmla="*/ 0 h 10799762"/>
                <a:gd name="connsiteX5" fmla="*/ 15203166 w 15796902"/>
                <a:gd name="connsiteY5" fmla="*/ 0 h 10799762"/>
                <a:gd name="connsiteX6" fmla="*/ 15796902 w 15796902"/>
                <a:gd name="connsiteY6" fmla="*/ 593737 h 10799762"/>
                <a:gd name="connsiteX7" fmla="*/ 15796902 w 15796902"/>
                <a:gd name="connsiteY7" fmla="*/ 5080012 h 10799762"/>
                <a:gd name="connsiteX8" fmla="*/ 15796902 w 15796902"/>
                <a:gd name="connsiteY8" fmla="*/ 5719750 h 10799762"/>
                <a:gd name="connsiteX9" fmla="*/ 15796902 w 15796902"/>
                <a:gd name="connsiteY9" fmla="*/ 10206025 h 10799762"/>
                <a:gd name="connsiteX10" fmla="*/ 15203166 w 15796902"/>
                <a:gd name="connsiteY10" fmla="*/ 10799762 h 10799762"/>
                <a:gd name="connsiteX11" fmla="*/ 14287500 w 15796902"/>
                <a:gd name="connsiteY11" fmla="*/ 10799762 h 10799762"/>
                <a:gd name="connsiteX12" fmla="*/ 12828290 w 15796902"/>
                <a:gd name="connsiteY12" fmla="*/ 10799762 h 10799762"/>
                <a:gd name="connsiteX13" fmla="*/ 2968613 w 15796902"/>
                <a:gd name="connsiteY13" fmla="*/ 10799762 h 10799762"/>
                <a:gd name="connsiteX14" fmla="*/ 1781175 w 15796902"/>
                <a:gd name="connsiteY14" fmla="*/ 10799762 h 10799762"/>
                <a:gd name="connsiteX15" fmla="*/ 593737 w 15796902"/>
                <a:gd name="connsiteY15" fmla="*/ 10799762 h 10799762"/>
                <a:gd name="connsiteX16" fmla="*/ 0 w 15796902"/>
                <a:gd name="connsiteY16" fmla="*/ 10206025 h 10799762"/>
                <a:gd name="connsiteX17" fmla="*/ 0 w 15796902"/>
                <a:gd name="connsiteY17" fmla="*/ 5719750 h 10799762"/>
                <a:gd name="connsiteX18" fmla="*/ 0 w 15796902"/>
                <a:gd name="connsiteY18" fmla="*/ 5080012 h 10799762"/>
                <a:gd name="connsiteX19" fmla="*/ 0 w 15796902"/>
                <a:gd name="connsiteY19" fmla="*/ 593737 h 10799762"/>
                <a:gd name="connsiteX20" fmla="*/ 593737 w 15796902"/>
                <a:gd name="connsiteY20" fmla="*/ 0 h 10799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5796902" h="10799762">
                  <a:moveTo>
                    <a:pt x="593737" y="0"/>
                  </a:moveTo>
                  <a:lnTo>
                    <a:pt x="2968613" y="0"/>
                  </a:lnTo>
                  <a:lnTo>
                    <a:pt x="2968615" y="0"/>
                  </a:lnTo>
                  <a:lnTo>
                    <a:pt x="12828290" y="0"/>
                  </a:lnTo>
                  <a:lnTo>
                    <a:pt x="14287500" y="0"/>
                  </a:lnTo>
                  <a:lnTo>
                    <a:pt x="15203166" y="0"/>
                  </a:lnTo>
                  <a:cubicBezTo>
                    <a:pt x="15531078" y="0"/>
                    <a:pt x="15796902" y="265825"/>
                    <a:pt x="15796902" y="593737"/>
                  </a:cubicBezTo>
                  <a:lnTo>
                    <a:pt x="15796902" y="5080012"/>
                  </a:lnTo>
                  <a:lnTo>
                    <a:pt x="15796902" y="5719750"/>
                  </a:lnTo>
                  <a:lnTo>
                    <a:pt x="15796902" y="10206025"/>
                  </a:lnTo>
                  <a:cubicBezTo>
                    <a:pt x="15796902" y="10533937"/>
                    <a:pt x="15531078" y="10799762"/>
                    <a:pt x="15203166" y="10799762"/>
                  </a:cubicBezTo>
                  <a:lnTo>
                    <a:pt x="14287500" y="10799762"/>
                  </a:lnTo>
                  <a:lnTo>
                    <a:pt x="12828290" y="10799762"/>
                  </a:lnTo>
                  <a:lnTo>
                    <a:pt x="2968613" y="10799762"/>
                  </a:lnTo>
                  <a:lnTo>
                    <a:pt x="1781175" y="10799762"/>
                  </a:lnTo>
                  <a:lnTo>
                    <a:pt x="593737" y="10799762"/>
                  </a:lnTo>
                  <a:cubicBezTo>
                    <a:pt x="265825" y="10799762"/>
                    <a:pt x="0" y="10533937"/>
                    <a:pt x="0" y="10206025"/>
                  </a:cubicBezTo>
                  <a:lnTo>
                    <a:pt x="0" y="5719750"/>
                  </a:lnTo>
                  <a:lnTo>
                    <a:pt x="0" y="5080012"/>
                  </a:lnTo>
                  <a:lnTo>
                    <a:pt x="0" y="593737"/>
                  </a:lnTo>
                  <a:cubicBezTo>
                    <a:pt x="0" y="265825"/>
                    <a:pt x="265825" y="0"/>
                    <a:pt x="593737" y="0"/>
                  </a:cubicBezTo>
                  <a:close/>
                </a:path>
              </a:pathLst>
            </a:custGeom>
            <a:solidFill>
              <a:srgbClr val="3838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12" name="Полилиния 36">
              <a:extLst>
                <a:ext uri="{FF2B5EF4-FFF2-40B4-BE49-F238E27FC236}">
                  <a16:creationId xmlns:a16="http://schemas.microsoft.com/office/drawing/2014/main" id="{8860E77A-3171-5ABC-9CCE-A61071740326}"/>
                </a:ext>
              </a:extLst>
            </p:cNvPr>
            <p:cNvSpPr/>
            <p:nvPr/>
          </p:nvSpPr>
          <p:spPr>
            <a:xfrm>
              <a:off x="4703929" y="6202089"/>
              <a:ext cx="9773238" cy="76176"/>
            </a:xfrm>
            <a:custGeom>
              <a:avLst/>
              <a:gdLst>
                <a:gd name="connsiteX0" fmla="*/ 0 w 19335232"/>
                <a:gd name="connsiteY0" fmla="*/ 0 h 333694"/>
                <a:gd name="connsiteX1" fmla="*/ 19335232 w 19335232"/>
                <a:gd name="connsiteY1" fmla="*/ 0 h 333694"/>
                <a:gd name="connsiteX2" fmla="*/ 19322694 w 19335232"/>
                <a:gd name="connsiteY2" fmla="*/ 40390 h 333694"/>
                <a:gd name="connsiteX3" fmla="*/ 18880202 w 19335232"/>
                <a:gd name="connsiteY3" fmla="*/ 333694 h 333694"/>
                <a:gd name="connsiteX4" fmla="*/ 455030 w 19335232"/>
                <a:gd name="connsiteY4" fmla="*/ 333694 h 333694"/>
                <a:gd name="connsiteX5" fmla="*/ 12538 w 19335232"/>
                <a:gd name="connsiteY5" fmla="*/ 40390 h 333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335232" h="333694">
                  <a:moveTo>
                    <a:pt x="0" y="0"/>
                  </a:moveTo>
                  <a:lnTo>
                    <a:pt x="19335232" y="0"/>
                  </a:lnTo>
                  <a:lnTo>
                    <a:pt x="19322694" y="40390"/>
                  </a:lnTo>
                  <a:cubicBezTo>
                    <a:pt x="19249792" y="212753"/>
                    <a:pt x="19079120" y="333694"/>
                    <a:pt x="18880202" y="333694"/>
                  </a:cubicBezTo>
                  <a:lnTo>
                    <a:pt x="455030" y="333694"/>
                  </a:lnTo>
                  <a:cubicBezTo>
                    <a:pt x="256112" y="333694"/>
                    <a:pt x="85441" y="212753"/>
                    <a:pt x="12538" y="40390"/>
                  </a:cubicBezTo>
                  <a:close/>
                </a:path>
              </a:pathLst>
            </a:custGeom>
            <a:gradFill flip="none" rotWithShape="1">
              <a:gsLst>
                <a:gs pos="89000">
                  <a:srgbClr val="828282"/>
                </a:gs>
                <a:gs pos="0">
                  <a:srgbClr val="C5C5C5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13" name="Прямоугольник 6">
              <a:extLst>
                <a:ext uri="{FF2B5EF4-FFF2-40B4-BE49-F238E27FC236}">
                  <a16:creationId xmlns:a16="http://schemas.microsoft.com/office/drawing/2014/main" id="{AD69F62F-5BD3-62B0-58B8-3FD011BD5FED}"/>
                </a:ext>
              </a:extLst>
            </p:cNvPr>
            <p:cNvSpPr/>
            <p:nvPr/>
          </p:nvSpPr>
          <p:spPr>
            <a:xfrm>
              <a:off x="4703929" y="6015623"/>
              <a:ext cx="9773238" cy="186467"/>
            </a:xfrm>
            <a:prstGeom prst="rect">
              <a:avLst/>
            </a:prstGeom>
            <a:gradFill flip="none" rotWithShape="1">
              <a:gsLst>
                <a:gs pos="2000">
                  <a:srgbClr val="D5D5D5"/>
                </a:gs>
                <a:gs pos="1000">
                  <a:srgbClr val="F2F2F2"/>
                </a:gs>
                <a:gs pos="0">
                  <a:schemeClr val="tx1">
                    <a:alpha val="5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14" name="Полилиния 37">
              <a:extLst>
                <a:ext uri="{FF2B5EF4-FFF2-40B4-BE49-F238E27FC236}">
                  <a16:creationId xmlns:a16="http://schemas.microsoft.com/office/drawing/2014/main" id="{383E7686-F2F1-C8D8-0EFB-BA536D996E38}"/>
                </a:ext>
              </a:extLst>
            </p:cNvPr>
            <p:cNvSpPr/>
            <p:nvPr/>
          </p:nvSpPr>
          <p:spPr>
            <a:xfrm>
              <a:off x="8891012" y="6018701"/>
              <a:ext cx="1351391" cy="106495"/>
            </a:xfrm>
            <a:custGeom>
              <a:avLst/>
              <a:gdLst>
                <a:gd name="connsiteX0" fmla="*/ 0 w 2673572"/>
                <a:gd name="connsiteY0" fmla="*/ 0 h 212424"/>
                <a:gd name="connsiteX1" fmla="*/ 2673572 w 2673572"/>
                <a:gd name="connsiteY1" fmla="*/ 0 h 212424"/>
                <a:gd name="connsiteX2" fmla="*/ 2662629 w 2673572"/>
                <a:gd name="connsiteY2" fmla="*/ 54207 h 212424"/>
                <a:gd name="connsiteX3" fmla="*/ 2423935 w 2673572"/>
                <a:gd name="connsiteY3" fmla="*/ 212424 h 212424"/>
                <a:gd name="connsiteX4" fmla="*/ 249637 w 2673572"/>
                <a:gd name="connsiteY4" fmla="*/ 212424 h 212424"/>
                <a:gd name="connsiteX5" fmla="*/ 10944 w 2673572"/>
                <a:gd name="connsiteY5" fmla="*/ 54207 h 212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73572" h="212424">
                  <a:moveTo>
                    <a:pt x="0" y="0"/>
                  </a:moveTo>
                  <a:lnTo>
                    <a:pt x="2673572" y="0"/>
                  </a:lnTo>
                  <a:lnTo>
                    <a:pt x="2662629" y="54207"/>
                  </a:lnTo>
                  <a:cubicBezTo>
                    <a:pt x="2623302" y="147185"/>
                    <a:pt x="2531237" y="212424"/>
                    <a:pt x="2423935" y="212424"/>
                  </a:cubicBezTo>
                  <a:lnTo>
                    <a:pt x="249637" y="212424"/>
                  </a:lnTo>
                  <a:cubicBezTo>
                    <a:pt x="142335" y="212424"/>
                    <a:pt x="50270" y="147185"/>
                    <a:pt x="10944" y="54207"/>
                  </a:cubicBezTo>
                  <a:close/>
                </a:path>
              </a:pathLst>
            </a:custGeom>
            <a:gradFill>
              <a:gsLst>
                <a:gs pos="88000">
                  <a:srgbClr val="F2F2F2"/>
                </a:gs>
                <a:gs pos="12000">
                  <a:srgbClr val="F2F2F2"/>
                </a:gs>
                <a:gs pos="100000">
                  <a:srgbClr val="828282"/>
                </a:gs>
                <a:gs pos="0">
                  <a:srgbClr val="828282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grpSp>
          <p:nvGrpSpPr>
            <p:cNvPr id="15" name="Группа 26">
              <a:extLst>
                <a:ext uri="{FF2B5EF4-FFF2-40B4-BE49-F238E27FC236}">
                  <a16:creationId xmlns:a16="http://schemas.microsoft.com/office/drawing/2014/main" id="{CA864469-1326-E257-48A6-31452C738608}"/>
                </a:ext>
              </a:extLst>
            </p:cNvPr>
            <p:cNvGrpSpPr/>
            <p:nvPr/>
          </p:nvGrpSpPr>
          <p:grpSpPr>
            <a:xfrm flipH="1">
              <a:off x="9572513" y="890239"/>
              <a:ext cx="23483" cy="22921"/>
              <a:chOff x="13422299" y="954496"/>
              <a:chExt cx="127026" cy="125005"/>
            </a:xfrm>
          </p:grpSpPr>
          <p:sp>
            <p:nvSpPr>
              <p:cNvPr id="16" name="Овал 29">
                <a:extLst>
                  <a:ext uri="{FF2B5EF4-FFF2-40B4-BE49-F238E27FC236}">
                    <a16:creationId xmlns:a16="http://schemas.microsoft.com/office/drawing/2014/main" id="{4F0EF27A-3FD2-A3EA-7E5A-812745B52E02}"/>
                  </a:ext>
                </a:extLst>
              </p:cNvPr>
              <p:cNvSpPr/>
              <p:nvPr/>
            </p:nvSpPr>
            <p:spPr>
              <a:xfrm>
                <a:off x="13422302" y="954496"/>
                <a:ext cx="127023" cy="125004"/>
              </a:xfrm>
              <a:prstGeom prst="ellipse">
                <a:avLst/>
              </a:prstGeom>
              <a:solidFill>
                <a:schemeClr val="bg1"/>
              </a:solidFill>
              <a:ln w="50800"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900"/>
              </a:p>
            </p:txBody>
          </p:sp>
          <p:sp>
            <p:nvSpPr>
              <p:cNvPr id="17" name="Овал 33">
                <a:extLst>
                  <a:ext uri="{FF2B5EF4-FFF2-40B4-BE49-F238E27FC236}">
                    <a16:creationId xmlns:a16="http://schemas.microsoft.com/office/drawing/2014/main" id="{1EE54C48-6859-AE68-6C9E-5F1825BBE5D1}"/>
                  </a:ext>
                </a:extLst>
              </p:cNvPr>
              <p:cNvSpPr/>
              <p:nvPr/>
            </p:nvSpPr>
            <p:spPr>
              <a:xfrm>
                <a:off x="13422299" y="954497"/>
                <a:ext cx="127026" cy="125004"/>
              </a:xfrm>
              <a:prstGeom prst="ellipse">
                <a:avLst/>
              </a:prstGeom>
              <a:solidFill>
                <a:srgbClr val="002060"/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900"/>
              </a:p>
            </p:txBody>
          </p:sp>
        </p:grpSp>
      </p:grpSp>
      <p:grpSp>
        <p:nvGrpSpPr>
          <p:cNvPr id="22" name="Group 22">
            <a:extLst>
              <a:ext uri="{FF2B5EF4-FFF2-40B4-BE49-F238E27FC236}">
                <a16:creationId xmlns:a16="http://schemas.microsoft.com/office/drawing/2014/main" id="{DE0C656D-8C46-0F9D-841D-B5B43631F3EC}"/>
              </a:ext>
            </a:extLst>
          </p:cNvPr>
          <p:cNvGrpSpPr>
            <a:grpSpLocks noChangeAspect="1"/>
          </p:cNvGrpSpPr>
          <p:nvPr/>
        </p:nvGrpSpPr>
        <p:grpSpPr>
          <a:xfrm>
            <a:off x="2037053" y="5717089"/>
            <a:ext cx="312000" cy="311952"/>
            <a:chOff x="3238499" y="8277225"/>
            <a:chExt cx="666750" cy="666750"/>
          </a:xfrm>
        </p:grpSpPr>
        <p:sp>
          <p:nvSpPr>
            <p:cNvPr id="23" name="Oval 23">
              <a:extLst>
                <a:ext uri="{FF2B5EF4-FFF2-40B4-BE49-F238E27FC236}">
                  <a16:creationId xmlns:a16="http://schemas.microsoft.com/office/drawing/2014/main" id="{DD41A3FE-B43C-A34C-4972-AF7E6AC26114}"/>
                </a:ext>
              </a:extLst>
            </p:cNvPr>
            <p:cNvSpPr/>
            <p:nvPr/>
          </p:nvSpPr>
          <p:spPr>
            <a:xfrm>
              <a:off x="3238499" y="8277225"/>
              <a:ext cx="666750" cy="666750"/>
            </a:xfrm>
            <a:prstGeom prst="ellipse">
              <a:avLst/>
            </a:prstGeom>
            <a:solidFill>
              <a:schemeClr val="accent5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24" name="Freeform 24">
              <a:extLst>
                <a:ext uri="{FF2B5EF4-FFF2-40B4-BE49-F238E27FC236}">
                  <a16:creationId xmlns:a16="http://schemas.microsoft.com/office/drawing/2014/main" id="{D2A7841B-4586-5CCE-0976-D44C2BA66BC9}"/>
                </a:ext>
              </a:extLst>
            </p:cNvPr>
            <p:cNvSpPr/>
            <p:nvPr/>
          </p:nvSpPr>
          <p:spPr bwMode="auto">
            <a:xfrm>
              <a:off x="3502483" y="8426894"/>
              <a:ext cx="189583" cy="367412"/>
            </a:xfrm>
            <a:custGeom>
              <a:avLst/>
              <a:gdLst>
                <a:gd name="T0" fmla="*/ 461 w 461"/>
                <a:gd name="T1" fmla="*/ 448 h 895"/>
                <a:gd name="T2" fmla="*/ 457 w 461"/>
                <a:gd name="T3" fmla="*/ 457 h 895"/>
                <a:gd name="T4" fmla="*/ 22 w 461"/>
                <a:gd name="T5" fmla="*/ 892 h 895"/>
                <a:gd name="T6" fmla="*/ 14 w 461"/>
                <a:gd name="T7" fmla="*/ 895 h 895"/>
                <a:gd name="T8" fmla="*/ 5 w 461"/>
                <a:gd name="T9" fmla="*/ 892 h 895"/>
                <a:gd name="T10" fmla="*/ 5 w 461"/>
                <a:gd name="T11" fmla="*/ 874 h 895"/>
                <a:gd name="T12" fmla="*/ 431 w 461"/>
                <a:gd name="T13" fmla="*/ 448 h 895"/>
                <a:gd name="T14" fmla="*/ 6 w 461"/>
                <a:gd name="T15" fmla="*/ 23 h 895"/>
                <a:gd name="T16" fmla="*/ 6 w 461"/>
                <a:gd name="T17" fmla="*/ 5 h 895"/>
                <a:gd name="T18" fmla="*/ 24 w 461"/>
                <a:gd name="T19" fmla="*/ 5 h 895"/>
                <a:gd name="T20" fmla="*/ 457 w 461"/>
                <a:gd name="T21" fmla="*/ 439 h 895"/>
                <a:gd name="T22" fmla="*/ 461 w 461"/>
                <a:gd name="T23" fmla="*/ 448 h 8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1" h="895">
                  <a:moveTo>
                    <a:pt x="461" y="448"/>
                  </a:moveTo>
                  <a:cubicBezTo>
                    <a:pt x="461" y="452"/>
                    <a:pt x="460" y="454"/>
                    <a:pt x="457" y="457"/>
                  </a:cubicBezTo>
                  <a:lnTo>
                    <a:pt x="22" y="892"/>
                  </a:lnTo>
                  <a:cubicBezTo>
                    <a:pt x="20" y="894"/>
                    <a:pt x="16" y="895"/>
                    <a:pt x="14" y="895"/>
                  </a:cubicBezTo>
                  <a:cubicBezTo>
                    <a:pt x="11" y="895"/>
                    <a:pt x="7" y="894"/>
                    <a:pt x="5" y="892"/>
                  </a:cubicBezTo>
                  <a:cubicBezTo>
                    <a:pt x="0" y="887"/>
                    <a:pt x="0" y="879"/>
                    <a:pt x="5" y="874"/>
                  </a:cubicBezTo>
                  <a:lnTo>
                    <a:pt x="431" y="448"/>
                  </a:lnTo>
                  <a:lnTo>
                    <a:pt x="6" y="23"/>
                  </a:lnTo>
                  <a:cubicBezTo>
                    <a:pt x="1" y="18"/>
                    <a:pt x="1" y="10"/>
                    <a:pt x="6" y="5"/>
                  </a:cubicBezTo>
                  <a:cubicBezTo>
                    <a:pt x="11" y="0"/>
                    <a:pt x="19" y="0"/>
                    <a:pt x="24" y="5"/>
                  </a:cubicBezTo>
                  <a:lnTo>
                    <a:pt x="457" y="439"/>
                  </a:lnTo>
                  <a:cubicBezTo>
                    <a:pt x="460" y="442"/>
                    <a:pt x="461" y="444"/>
                    <a:pt x="461" y="448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</a:ln>
          </p:spPr>
          <p:txBody>
            <a:bodyPr vert="horz" wrap="square" lIns="137160" tIns="68580" rIns="137160" bIns="68580" numCol="1" anchor="t" anchorCtr="0" compatLnSpc="1"/>
            <a:lstStyle/>
            <a:p>
              <a:endParaRPr lang="en-US" sz="2700"/>
            </a:p>
          </p:txBody>
        </p:sp>
      </p:grpSp>
      <p:sp>
        <p:nvSpPr>
          <p:cNvPr id="26" name="PA_TextPlaceholder 1">
            <a:extLst>
              <a:ext uri="{FF2B5EF4-FFF2-40B4-BE49-F238E27FC236}">
                <a16:creationId xmlns:a16="http://schemas.microsoft.com/office/drawing/2014/main" id="{5FBD707C-9A59-0083-2BD4-44046224788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216357" y="2871458"/>
            <a:ext cx="4051121" cy="2457579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优点：</a:t>
            </a:r>
            <a:endParaRPr lang="en-US" altLang="zh-CN" sz="1400" dirty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支持</a:t>
            </a: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1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分钟长视频生成，满足一定的长视频制作需求；</a:t>
            </a:r>
            <a:b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动态分镜脚本支持使视频生成更具电影感和剧本性</a:t>
            </a:r>
            <a:endParaRPr lang="en-US" altLang="zh-CN" sz="1400" dirty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缺点：</a:t>
            </a:r>
            <a:endParaRPr lang="en-US" altLang="zh-CN" sz="1400" dirty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目前仅限于</a:t>
            </a: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Google Cloud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平台使用，生态封闭性较强；</a:t>
            </a:r>
            <a:b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人物动作生成存在生硬问题（例如走路时手脚同步），影响自然度</a:t>
            </a:r>
            <a:endParaRPr lang="en-US" sz="14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27" name="PA_TextPlaceholder 2">
            <a:extLst>
              <a:ext uri="{FF2B5EF4-FFF2-40B4-BE49-F238E27FC236}">
                <a16:creationId xmlns:a16="http://schemas.microsoft.com/office/drawing/2014/main" id="{06BB7AAD-DCDF-D101-D381-93A6D70E5BD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84976" y="1597191"/>
            <a:ext cx="4051121" cy="1503831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3600" b="1" dirty="0">
                <a:solidFill>
                  <a:srgbClr val="404040"/>
                </a:solidFill>
                <a:latin typeface="Inter"/>
              </a:rPr>
              <a:t>Veo</a:t>
            </a:r>
            <a:r>
              <a:rPr lang="zh-CN" altLang="en-US" sz="3600" b="1" dirty="0">
                <a:solidFill>
                  <a:srgbClr val="404040"/>
                </a:solidFill>
                <a:latin typeface="Inter"/>
              </a:rPr>
              <a:t>（</a:t>
            </a:r>
            <a:r>
              <a:rPr lang="en-US" altLang="zh-CN" sz="3600" b="1" dirty="0">
                <a:solidFill>
                  <a:srgbClr val="404040"/>
                </a:solidFill>
                <a:latin typeface="Inter"/>
              </a:rPr>
              <a:t>Google</a:t>
            </a:r>
            <a:r>
              <a:rPr lang="zh-CN" altLang="en-US" sz="3600" b="1" dirty="0">
                <a:solidFill>
                  <a:srgbClr val="404040"/>
                </a:solidFill>
                <a:latin typeface="Inter"/>
              </a:rPr>
              <a:t>）</a:t>
            </a:r>
            <a:endParaRPr lang="en-US" sz="3600" b="1" dirty="0">
              <a:solidFill>
                <a:srgbClr val="404040"/>
              </a:solidFill>
              <a:latin typeface="Inter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D2A66E8A-030C-554C-5027-0C52E677141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85400" y="1658097"/>
            <a:ext cx="7416076" cy="3901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19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3000"/>
    </mc:Choice>
    <mc:Fallback xmlns="">
      <p:transition advTm="3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ur="500" decel="5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58051B-1540-09B8-E9DF-5F4D307C25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8">
            <a:extLst>
              <a:ext uri="{FF2B5EF4-FFF2-40B4-BE49-F238E27FC236}">
                <a16:creationId xmlns:a16="http://schemas.microsoft.com/office/drawing/2014/main" id="{A09AF09F-BDF6-39B0-A4A0-2D02C1132869}"/>
              </a:ext>
            </a:extLst>
          </p:cNvPr>
          <p:cNvSpPr/>
          <p:nvPr/>
        </p:nvSpPr>
        <p:spPr>
          <a:xfrm>
            <a:off x="5732640" y="0"/>
            <a:ext cx="6459359" cy="6858000"/>
          </a:xfrm>
          <a:prstGeom prst="rect">
            <a:avLst/>
          </a:prstGeom>
          <a:gradFill>
            <a:gsLst>
              <a:gs pos="100000">
                <a:schemeClr val="tx2">
                  <a:lumMod val="60000"/>
                  <a:lumOff val="40000"/>
                </a:schemeClr>
              </a:gs>
              <a:gs pos="0">
                <a:schemeClr val="tx2">
                  <a:lumMod val="20000"/>
                  <a:lumOff val="8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9" tIns="22859" rIns="45719" bIns="22859" rtlCol="0" anchor="ctr"/>
          <a:lstStyle/>
          <a:p>
            <a:pPr algn="ctr"/>
            <a:endParaRPr lang="en-US"/>
          </a:p>
        </p:txBody>
      </p:sp>
      <p:grpSp>
        <p:nvGrpSpPr>
          <p:cNvPr id="9" name="Группа 1">
            <a:extLst>
              <a:ext uri="{FF2B5EF4-FFF2-40B4-BE49-F238E27FC236}">
                <a16:creationId xmlns:a16="http://schemas.microsoft.com/office/drawing/2014/main" id="{46F3440E-A135-3F4A-0FA9-4B8D76AE3F7B}"/>
              </a:ext>
            </a:extLst>
          </p:cNvPr>
          <p:cNvGrpSpPr/>
          <p:nvPr/>
        </p:nvGrpSpPr>
        <p:grpSpPr>
          <a:xfrm>
            <a:off x="4901371" y="856779"/>
            <a:ext cx="9773240" cy="5561188"/>
            <a:chOff x="4703929" y="717077"/>
            <a:chExt cx="9773238" cy="5561188"/>
          </a:xfrm>
        </p:grpSpPr>
        <p:sp>
          <p:nvSpPr>
            <p:cNvPr id="11" name="Полилиния 34">
              <a:extLst>
                <a:ext uri="{FF2B5EF4-FFF2-40B4-BE49-F238E27FC236}">
                  <a16:creationId xmlns:a16="http://schemas.microsoft.com/office/drawing/2014/main" id="{627366E7-A98F-4B6D-B695-641303B4FDB7}"/>
                </a:ext>
              </a:extLst>
            </p:cNvPr>
            <p:cNvSpPr/>
            <p:nvPr/>
          </p:nvSpPr>
          <p:spPr>
            <a:xfrm>
              <a:off x="5555970" y="717077"/>
              <a:ext cx="7984744" cy="5414294"/>
            </a:xfrm>
            <a:custGeom>
              <a:avLst/>
              <a:gdLst>
                <a:gd name="connsiteX0" fmla="*/ 593737 w 15796902"/>
                <a:gd name="connsiteY0" fmla="*/ 0 h 10799762"/>
                <a:gd name="connsiteX1" fmla="*/ 2968613 w 15796902"/>
                <a:gd name="connsiteY1" fmla="*/ 0 h 10799762"/>
                <a:gd name="connsiteX2" fmla="*/ 2968615 w 15796902"/>
                <a:gd name="connsiteY2" fmla="*/ 0 h 10799762"/>
                <a:gd name="connsiteX3" fmla="*/ 12828290 w 15796902"/>
                <a:gd name="connsiteY3" fmla="*/ 0 h 10799762"/>
                <a:gd name="connsiteX4" fmla="*/ 14287500 w 15796902"/>
                <a:gd name="connsiteY4" fmla="*/ 0 h 10799762"/>
                <a:gd name="connsiteX5" fmla="*/ 15203166 w 15796902"/>
                <a:gd name="connsiteY5" fmla="*/ 0 h 10799762"/>
                <a:gd name="connsiteX6" fmla="*/ 15796902 w 15796902"/>
                <a:gd name="connsiteY6" fmla="*/ 593737 h 10799762"/>
                <a:gd name="connsiteX7" fmla="*/ 15796902 w 15796902"/>
                <a:gd name="connsiteY7" fmla="*/ 5080012 h 10799762"/>
                <a:gd name="connsiteX8" fmla="*/ 15796902 w 15796902"/>
                <a:gd name="connsiteY8" fmla="*/ 5719750 h 10799762"/>
                <a:gd name="connsiteX9" fmla="*/ 15796902 w 15796902"/>
                <a:gd name="connsiteY9" fmla="*/ 10206025 h 10799762"/>
                <a:gd name="connsiteX10" fmla="*/ 15203166 w 15796902"/>
                <a:gd name="connsiteY10" fmla="*/ 10799762 h 10799762"/>
                <a:gd name="connsiteX11" fmla="*/ 14287500 w 15796902"/>
                <a:gd name="connsiteY11" fmla="*/ 10799762 h 10799762"/>
                <a:gd name="connsiteX12" fmla="*/ 12828290 w 15796902"/>
                <a:gd name="connsiteY12" fmla="*/ 10799762 h 10799762"/>
                <a:gd name="connsiteX13" fmla="*/ 2968613 w 15796902"/>
                <a:gd name="connsiteY13" fmla="*/ 10799762 h 10799762"/>
                <a:gd name="connsiteX14" fmla="*/ 1781175 w 15796902"/>
                <a:gd name="connsiteY14" fmla="*/ 10799762 h 10799762"/>
                <a:gd name="connsiteX15" fmla="*/ 593737 w 15796902"/>
                <a:gd name="connsiteY15" fmla="*/ 10799762 h 10799762"/>
                <a:gd name="connsiteX16" fmla="*/ 0 w 15796902"/>
                <a:gd name="connsiteY16" fmla="*/ 10206025 h 10799762"/>
                <a:gd name="connsiteX17" fmla="*/ 0 w 15796902"/>
                <a:gd name="connsiteY17" fmla="*/ 5719750 h 10799762"/>
                <a:gd name="connsiteX18" fmla="*/ 0 w 15796902"/>
                <a:gd name="connsiteY18" fmla="*/ 5080012 h 10799762"/>
                <a:gd name="connsiteX19" fmla="*/ 0 w 15796902"/>
                <a:gd name="connsiteY19" fmla="*/ 593737 h 10799762"/>
                <a:gd name="connsiteX20" fmla="*/ 593737 w 15796902"/>
                <a:gd name="connsiteY20" fmla="*/ 0 h 10799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5796902" h="10799762">
                  <a:moveTo>
                    <a:pt x="593737" y="0"/>
                  </a:moveTo>
                  <a:lnTo>
                    <a:pt x="2968613" y="0"/>
                  </a:lnTo>
                  <a:lnTo>
                    <a:pt x="2968615" y="0"/>
                  </a:lnTo>
                  <a:lnTo>
                    <a:pt x="12828290" y="0"/>
                  </a:lnTo>
                  <a:lnTo>
                    <a:pt x="14287500" y="0"/>
                  </a:lnTo>
                  <a:lnTo>
                    <a:pt x="15203166" y="0"/>
                  </a:lnTo>
                  <a:cubicBezTo>
                    <a:pt x="15531078" y="0"/>
                    <a:pt x="15796902" y="265825"/>
                    <a:pt x="15796902" y="593737"/>
                  </a:cubicBezTo>
                  <a:lnTo>
                    <a:pt x="15796902" y="5080012"/>
                  </a:lnTo>
                  <a:lnTo>
                    <a:pt x="15796902" y="5719750"/>
                  </a:lnTo>
                  <a:lnTo>
                    <a:pt x="15796902" y="10206025"/>
                  </a:lnTo>
                  <a:cubicBezTo>
                    <a:pt x="15796902" y="10533937"/>
                    <a:pt x="15531078" y="10799762"/>
                    <a:pt x="15203166" y="10799762"/>
                  </a:cubicBezTo>
                  <a:lnTo>
                    <a:pt x="14287500" y="10799762"/>
                  </a:lnTo>
                  <a:lnTo>
                    <a:pt x="12828290" y="10799762"/>
                  </a:lnTo>
                  <a:lnTo>
                    <a:pt x="2968613" y="10799762"/>
                  </a:lnTo>
                  <a:lnTo>
                    <a:pt x="1781175" y="10799762"/>
                  </a:lnTo>
                  <a:lnTo>
                    <a:pt x="593737" y="10799762"/>
                  </a:lnTo>
                  <a:cubicBezTo>
                    <a:pt x="265825" y="10799762"/>
                    <a:pt x="0" y="10533937"/>
                    <a:pt x="0" y="10206025"/>
                  </a:cubicBezTo>
                  <a:lnTo>
                    <a:pt x="0" y="5719750"/>
                  </a:lnTo>
                  <a:lnTo>
                    <a:pt x="0" y="5080012"/>
                  </a:lnTo>
                  <a:lnTo>
                    <a:pt x="0" y="593737"/>
                  </a:lnTo>
                  <a:cubicBezTo>
                    <a:pt x="0" y="265825"/>
                    <a:pt x="265825" y="0"/>
                    <a:pt x="593737" y="0"/>
                  </a:cubicBezTo>
                  <a:close/>
                </a:path>
              </a:pathLst>
            </a:custGeom>
            <a:solidFill>
              <a:srgbClr val="3838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12" name="Полилиния 36">
              <a:extLst>
                <a:ext uri="{FF2B5EF4-FFF2-40B4-BE49-F238E27FC236}">
                  <a16:creationId xmlns:a16="http://schemas.microsoft.com/office/drawing/2014/main" id="{77B6F200-6149-0299-5AE6-8BABBD6260A4}"/>
                </a:ext>
              </a:extLst>
            </p:cNvPr>
            <p:cNvSpPr/>
            <p:nvPr/>
          </p:nvSpPr>
          <p:spPr>
            <a:xfrm>
              <a:off x="4703929" y="6202089"/>
              <a:ext cx="9773238" cy="76176"/>
            </a:xfrm>
            <a:custGeom>
              <a:avLst/>
              <a:gdLst>
                <a:gd name="connsiteX0" fmla="*/ 0 w 19335232"/>
                <a:gd name="connsiteY0" fmla="*/ 0 h 333694"/>
                <a:gd name="connsiteX1" fmla="*/ 19335232 w 19335232"/>
                <a:gd name="connsiteY1" fmla="*/ 0 h 333694"/>
                <a:gd name="connsiteX2" fmla="*/ 19322694 w 19335232"/>
                <a:gd name="connsiteY2" fmla="*/ 40390 h 333694"/>
                <a:gd name="connsiteX3" fmla="*/ 18880202 w 19335232"/>
                <a:gd name="connsiteY3" fmla="*/ 333694 h 333694"/>
                <a:gd name="connsiteX4" fmla="*/ 455030 w 19335232"/>
                <a:gd name="connsiteY4" fmla="*/ 333694 h 333694"/>
                <a:gd name="connsiteX5" fmla="*/ 12538 w 19335232"/>
                <a:gd name="connsiteY5" fmla="*/ 40390 h 333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335232" h="333694">
                  <a:moveTo>
                    <a:pt x="0" y="0"/>
                  </a:moveTo>
                  <a:lnTo>
                    <a:pt x="19335232" y="0"/>
                  </a:lnTo>
                  <a:lnTo>
                    <a:pt x="19322694" y="40390"/>
                  </a:lnTo>
                  <a:cubicBezTo>
                    <a:pt x="19249792" y="212753"/>
                    <a:pt x="19079120" y="333694"/>
                    <a:pt x="18880202" y="333694"/>
                  </a:cubicBezTo>
                  <a:lnTo>
                    <a:pt x="455030" y="333694"/>
                  </a:lnTo>
                  <a:cubicBezTo>
                    <a:pt x="256112" y="333694"/>
                    <a:pt x="85441" y="212753"/>
                    <a:pt x="12538" y="40390"/>
                  </a:cubicBezTo>
                  <a:close/>
                </a:path>
              </a:pathLst>
            </a:custGeom>
            <a:gradFill flip="none" rotWithShape="1">
              <a:gsLst>
                <a:gs pos="89000">
                  <a:srgbClr val="828282"/>
                </a:gs>
                <a:gs pos="0">
                  <a:srgbClr val="C5C5C5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13" name="Прямоугольник 6">
              <a:extLst>
                <a:ext uri="{FF2B5EF4-FFF2-40B4-BE49-F238E27FC236}">
                  <a16:creationId xmlns:a16="http://schemas.microsoft.com/office/drawing/2014/main" id="{22278184-FE87-132F-C9F2-D9FBA0A2FC35}"/>
                </a:ext>
              </a:extLst>
            </p:cNvPr>
            <p:cNvSpPr/>
            <p:nvPr/>
          </p:nvSpPr>
          <p:spPr>
            <a:xfrm>
              <a:off x="4703929" y="6015623"/>
              <a:ext cx="9773238" cy="186467"/>
            </a:xfrm>
            <a:prstGeom prst="rect">
              <a:avLst/>
            </a:prstGeom>
            <a:gradFill flip="none" rotWithShape="1">
              <a:gsLst>
                <a:gs pos="2000">
                  <a:srgbClr val="D5D5D5"/>
                </a:gs>
                <a:gs pos="1000">
                  <a:srgbClr val="F2F2F2"/>
                </a:gs>
                <a:gs pos="0">
                  <a:schemeClr val="tx1">
                    <a:alpha val="5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14" name="Полилиния 37">
              <a:extLst>
                <a:ext uri="{FF2B5EF4-FFF2-40B4-BE49-F238E27FC236}">
                  <a16:creationId xmlns:a16="http://schemas.microsoft.com/office/drawing/2014/main" id="{0AB96460-FC07-7F15-238E-42471E35A22F}"/>
                </a:ext>
              </a:extLst>
            </p:cNvPr>
            <p:cNvSpPr/>
            <p:nvPr/>
          </p:nvSpPr>
          <p:spPr>
            <a:xfrm>
              <a:off x="8891012" y="6018701"/>
              <a:ext cx="1351391" cy="106495"/>
            </a:xfrm>
            <a:custGeom>
              <a:avLst/>
              <a:gdLst>
                <a:gd name="connsiteX0" fmla="*/ 0 w 2673572"/>
                <a:gd name="connsiteY0" fmla="*/ 0 h 212424"/>
                <a:gd name="connsiteX1" fmla="*/ 2673572 w 2673572"/>
                <a:gd name="connsiteY1" fmla="*/ 0 h 212424"/>
                <a:gd name="connsiteX2" fmla="*/ 2662629 w 2673572"/>
                <a:gd name="connsiteY2" fmla="*/ 54207 h 212424"/>
                <a:gd name="connsiteX3" fmla="*/ 2423935 w 2673572"/>
                <a:gd name="connsiteY3" fmla="*/ 212424 h 212424"/>
                <a:gd name="connsiteX4" fmla="*/ 249637 w 2673572"/>
                <a:gd name="connsiteY4" fmla="*/ 212424 h 212424"/>
                <a:gd name="connsiteX5" fmla="*/ 10944 w 2673572"/>
                <a:gd name="connsiteY5" fmla="*/ 54207 h 212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73572" h="212424">
                  <a:moveTo>
                    <a:pt x="0" y="0"/>
                  </a:moveTo>
                  <a:lnTo>
                    <a:pt x="2673572" y="0"/>
                  </a:lnTo>
                  <a:lnTo>
                    <a:pt x="2662629" y="54207"/>
                  </a:lnTo>
                  <a:cubicBezTo>
                    <a:pt x="2623302" y="147185"/>
                    <a:pt x="2531237" y="212424"/>
                    <a:pt x="2423935" y="212424"/>
                  </a:cubicBezTo>
                  <a:lnTo>
                    <a:pt x="249637" y="212424"/>
                  </a:lnTo>
                  <a:cubicBezTo>
                    <a:pt x="142335" y="212424"/>
                    <a:pt x="50270" y="147185"/>
                    <a:pt x="10944" y="54207"/>
                  </a:cubicBezTo>
                  <a:close/>
                </a:path>
              </a:pathLst>
            </a:custGeom>
            <a:gradFill>
              <a:gsLst>
                <a:gs pos="88000">
                  <a:srgbClr val="F2F2F2"/>
                </a:gs>
                <a:gs pos="12000">
                  <a:srgbClr val="F2F2F2"/>
                </a:gs>
                <a:gs pos="100000">
                  <a:srgbClr val="828282"/>
                </a:gs>
                <a:gs pos="0">
                  <a:srgbClr val="828282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grpSp>
          <p:nvGrpSpPr>
            <p:cNvPr id="15" name="Группа 26">
              <a:extLst>
                <a:ext uri="{FF2B5EF4-FFF2-40B4-BE49-F238E27FC236}">
                  <a16:creationId xmlns:a16="http://schemas.microsoft.com/office/drawing/2014/main" id="{6E8DB54C-1C9C-8870-4976-1B629AF2B817}"/>
                </a:ext>
              </a:extLst>
            </p:cNvPr>
            <p:cNvGrpSpPr/>
            <p:nvPr/>
          </p:nvGrpSpPr>
          <p:grpSpPr>
            <a:xfrm flipH="1">
              <a:off x="9572513" y="890239"/>
              <a:ext cx="23483" cy="22921"/>
              <a:chOff x="13422299" y="954496"/>
              <a:chExt cx="127026" cy="125005"/>
            </a:xfrm>
          </p:grpSpPr>
          <p:sp>
            <p:nvSpPr>
              <p:cNvPr id="16" name="Овал 29">
                <a:extLst>
                  <a:ext uri="{FF2B5EF4-FFF2-40B4-BE49-F238E27FC236}">
                    <a16:creationId xmlns:a16="http://schemas.microsoft.com/office/drawing/2014/main" id="{7883C09C-02B9-F1A0-401D-2ACEB3AD0788}"/>
                  </a:ext>
                </a:extLst>
              </p:cNvPr>
              <p:cNvSpPr/>
              <p:nvPr/>
            </p:nvSpPr>
            <p:spPr>
              <a:xfrm>
                <a:off x="13422302" y="954496"/>
                <a:ext cx="127023" cy="125004"/>
              </a:xfrm>
              <a:prstGeom prst="ellipse">
                <a:avLst/>
              </a:prstGeom>
              <a:solidFill>
                <a:schemeClr val="bg1"/>
              </a:solidFill>
              <a:ln w="50800"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900"/>
              </a:p>
            </p:txBody>
          </p:sp>
          <p:sp>
            <p:nvSpPr>
              <p:cNvPr id="17" name="Овал 33">
                <a:extLst>
                  <a:ext uri="{FF2B5EF4-FFF2-40B4-BE49-F238E27FC236}">
                    <a16:creationId xmlns:a16="http://schemas.microsoft.com/office/drawing/2014/main" id="{D21F8C06-5A09-8404-BE37-AA67CACBBA6E}"/>
                  </a:ext>
                </a:extLst>
              </p:cNvPr>
              <p:cNvSpPr/>
              <p:nvPr/>
            </p:nvSpPr>
            <p:spPr>
              <a:xfrm>
                <a:off x="13422299" y="954497"/>
                <a:ext cx="127026" cy="125004"/>
              </a:xfrm>
              <a:prstGeom prst="ellipse">
                <a:avLst/>
              </a:prstGeom>
              <a:solidFill>
                <a:srgbClr val="002060"/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900"/>
              </a:p>
            </p:txBody>
          </p:sp>
        </p:grpSp>
      </p:grpSp>
      <p:grpSp>
        <p:nvGrpSpPr>
          <p:cNvPr id="22" name="Group 22">
            <a:extLst>
              <a:ext uri="{FF2B5EF4-FFF2-40B4-BE49-F238E27FC236}">
                <a16:creationId xmlns:a16="http://schemas.microsoft.com/office/drawing/2014/main" id="{89EF8948-2D5B-612D-5C66-CF42C864E338}"/>
              </a:ext>
            </a:extLst>
          </p:cNvPr>
          <p:cNvGrpSpPr>
            <a:grpSpLocks noChangeAspect="1"/>
          </p:cNvGrpSpPr>
          <p:nvPr/>
        </p:nvGrpSpPr>
        <p:grpSpPr>
          <a:xfrm>
            <a:off x="2037053" y="5717089"/>
            <a:ext cx="312000" cy="311952"/>
            <a:chOff x="3238499" y="8277225"/>
            <a:chExt cx="666750" cy="666750"/>
          </a:xfrm>
        </p:grpSpPr>
        <p:sp>
          <p:nvSpPr>
            <p:cNvPr id="23" name="Oval 23">
              <a:extLst>
                <a:ext uri="{FF2B5EF4-FFF2-40B4-BE49-F238E27FC236}">
                  <a16:creationId xmlns:a16="http://schemas.microsoft.com/office/drawing/2014/main" id="{8797AF4B-4F21-A44D-FDFE-C5FAE7E72E59}"/>
                </a:ext>
              </a:extLst>
            </p:cNvPr>
            <p:cNvSpPr/>
            <p:nvPr/>
          </p:nvSpPr>
          <p:spPr>
            <a:xfrm>
              <a:off x="3238499" y="8277225"/>
              <a:ext cx="666750" cy="666750"/>
            </a:xfrm>
            <a:prstGeom prst="ellipse">
              <a:avLst/>
            </a:prstGeom>
            <a:solidFill>
              <a:schemeClr val="accent5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24" name="Freeform 24">
              <a:extLst>
                <a:ext uri="{FF2B5EF4-FFF2-40B4-BE49-F238E27FC236}">
                  <a16:creationId xmlns:a16="http://schemas.microsoft.com/office/drawing/2014/main" id="{0F3D6ECD-25F6-3CDF-C05A-C5F6EF27350F}"/>
                </a:ext>
              </a:extLst>
            </p:cNvPr>
            <p:cNvSpPr/>
            <p:nvPr/>
          </p:nvSpPr>
          <p:spPr bwMode="auto">
            <a:xfrm>
              <a:off x="3502483" y="8426894"/>
              <a:ext cx="189583" cy="367412"/>
            </a:xfrm>
            <a:custGeom>
              <a:avLst/>
              <a:gdLst>
                <a:gd name="T0" fmla="*/ 461 w 461"/>
                <a:gd name="T1" fmla="*/ 448 h 895"/>
                <a:gd name="T2" fmla="*/ 457 w 461"/>
                <a:gd name="T3" fmla="*/ 457 h 895"/>
                <a:gd name="T4" fmla="*/ 22 w 461"/>
                <a:gd name="T5" fmla="*/ 892 h 895"/>
                <a:gd name="T6" fmla="*/ 14 w 461"/>
                <a:gd name="T7" fmla="*/ 895 h 895"/>
                <a:gd name="T8" fmla="*/ 5 w 461"/>
                <a:gd name="T9" fmla="*/ 892 h 895"/>
                <a:gd name="T10" fmla="*/ 5 w 461"/>
                <a:gd name="T11" fmla="*/ 874 h 895"/>
                <a:gd name="T12" fmla="*/ 431 w 461"/>
                <a:gd name="T13" fmla="*/ 448 h 895"/>
                <a:gd name="T14" fmla="*/ 6 w 461"/>
                <a:gd name="T15" fmla="*/ 23 h 895"/>
                <a:gd name="T16" fmla="*/ 6 w 461"/>
                <a:gd name="T17" fmla="*/ 5 h 895"/>
                <a:gd name="T18" fmla="*/ 24 w 461"/>
                <a:gd name="T19" fmla="*/ 5 h 895"/>
                <a:gd name="T20" fmla="*/ 457 w 461"/>
                <a:gd name="T21" fmla="*/ 439 h 895"/>
                <a:gd name="T22" fmla="*/ 461 w 461"/>
                <a:gd name="T23" fmla="*/ 448 h 8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1" h="895">
                  <a:moveTo>
                    <a:pt x="461" y="448"/>
                  </a:moveTo>
                  <a:cubicBezTo>
                    <a:pt x="461" y="452"/>
                    <a:pt x="460" y="454"/>
                    <a:pt x="457" y="457"/>
                  </a:cubicBezTo>
                  <a:lnTo>
                    <a:pt x="22" y="892"/>
                  </a:lnTo>
                  <a:cubicBezTo>
                    <a:pt x="20" y="894"/>
                    <a:pt x="16" y="895"/>
                    <a:pt x="14" y="895"/>
                  </a:cubicBezTo>
                  <a:cubicBezTo>
                    <a:pt x="11" y="895"/>
                    <a:pt x="7" y="894"/>
                    <a:pt x="5" y="892"/>
                  </a:cubicBezTo>
                  <a:cubicBezTo>
                    <a:pt x="0" y="887"/>
                    <a:pt x="0" y="879"/>
                    <a:pt x="5" y="874"/>
                  </a:cubicBezTo>
                  <a:lnTo>
                    <a:pt x="431" y="448"/>
                  </a:lnTo>
                  <a:lnTo>
                    <a:pt x="6" y="23"/>
                  </a:lnTo>
                  <a:cubicBezTo>
                    <a:pt x="1" y="18"/>
                    <a:pt x="1" y="10"/>
                    <a:pt x="6" y="5"/>
                  </a:cubicBezTo>
                  <a:cubicBezTo>
                    <a:pt x="11" y="0"/>
                    <a:pt x="19" y="0"/>
                    <a:pt x="24" y="5"/>
                  </a:cubicBezTo>
                  <a:lnTo>
                    <a:pt x="457" y="439"/>
                  </a:lnTo>
                  <a:cubicBezTo>
                    <a:pt x="460" y="442"/>
                    <a:pt x="461" y="444"/>
                    <a:pt x="461" y="448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</a:ln>
          </p:spPr>
          <p:txBody>
            <a:bodyPr vert="horz" wrap="square" lIns="137160" tIns="68580" rIns="137160" bIns="68580" numCol="1" anchor="t" anchorCtr="0" compatLnSpc="1"/>
            <a:lstStyle/>
            <a:p>
              <a:endParaRPr lang="en-US" sz="2700"/>
            </a:p>
          </p:txBody>
        </p:sp>
      </p:grpSp>
      <p:sp>
        <p:nvSpPr>
          <p:cNvPr id="26" name="PA_TextPlaceholder 1">
            <a:extLst>
              <a:ext uri="{FF2B5EF4-FFF2-40B4-BE49-F238E27FC236}">
                <a16:creationId xmlns:a16="http://schemas.microsoft.com/office/drawing/2014/main" id="{312809B9-428E-B1D1-84DD-ECE16A578F2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216357" y="2871458"/>
            <a:ext cx="4051121" cy="2457579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优点：</a:t>
            </a:r>
            <a:endParaRPr lang="en-US" altLang="zh-CN" sz="1400" dirty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图像生成细节达到</a:t>
            </a: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4K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分辨率，适合高精度图像制作；</a:t>
            </a:r>
            <a:b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在艺术创作和商业设计上具有较大优势</a:t>
            </a:r>
            <a:endParaRPr lang="en-US" altLang="zh-CN" sz="1400" dirty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缺点：</a:t>
            </a:r>
            <a:endParaRPr lang="en-US" altLang="zh-CN" sz="1400" dirty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单张图像生成速度较慢（超过</a:t>
            </a: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20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秒），不适合需要快速反馈的场景；</a:t>
            </a:r>
            <a:b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生成提示词需严格遵循模板，灵活性受到一定限制。</a:t>
            </a:r>
            <a:endParaRPr lang="en-US" sz="14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27" name="PA_TextPlaceholder 2">
            <a:extLst>
              <a:ext uri="{FF2B5EF4-FFF2-40B4-BE49-F238E27FC236}">
                <a16:creationId xmlns:a16="http://schemas.microsoft.com/office/drawing/2014/main" id="{D016185A-AC78-E650-42EC-BEDA1A00A65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84976" y="1597191"/>
            <a:ext cx="4051121" cy="1503831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3600" b="1" dirty="0">
                <a:solidFill>
                  <a:srgbClr val="404040"/>
                </a:solidFill>
                <a:latin typeface="Inter"/>
              </a:rPr>
              <a:t>Imagen</a:t>
            </a:r>
            <a:r>
              <a:rPr lang="en-US" altLang="zh-CN" sz="2000" dirty="0"/>
              <a:t> </a:t>
            </a:r>
            <a:endParaRPr lang="en-US" sz="5300" b="1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1F90AA29-0622-E4E2-2E14-AB8D44EE06F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55956" y="1496824"/>
            <a:ext cx="7216388" cy="4290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7499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3000"/>
    </mc:Choice>
    <mc:Fallback xmlns="">
      <p:transition advTm="3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ur="500" decel="5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52F554-CAE8-D248-773C-5FE25CB205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8">
            <a:extLst>
              <a:ext uri="{FF2B5EF4-FFF2-40B4-BE49-F238E27FC236}">
                <a16:creationId xmlns:a16="http://schemas.microsoft.com/office/drawing/2014/main" id="{04BC09D0-03B0-F429-C8CA-611ED9C604A5}"/>
              </a:ext>
            </a:extLst>
          </p:cNvPr>
          <p:cNvSpPr/>
          <p:nvPr/>
        </p:nvSpPr>
        <p:spPr>
          <a:xfrm>
            <a:off x="5732640" y="0"/>
            <a:ext cx="6459359" cy="6858000"/>
          </a:xfrm>
          <a:prstGeom prst="rect">
            <a:avLst/>
          </a:prstGeom>
          <a:gradFill>
            <a:gsLst>
              <a:gs pos="100000">
                <a:schemeClr val="tx2">
                  <a:lumMod val="60000"/>
                  <a:lumOff val="40000"/>
                </a:schemeClr>
              </a:gs>
              <a:gs pos="0">
                <a:schemeClr val="tx2">
                  <a:lumMod val="20000"/>
                  <a:lumOff val="8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9" tIns="22859" rIns="45719" bIns="22859" rtlCol="0" anchor="ctr"/>
          <a:lstStyle/>
          <a:p>
            <a:pPr algn="ctr"/>
            <a:endParaRPr lang="en-US"/>
          </a:p>
        </p:txBody>
      </p:sp>
      <p:grpSp>
        <p:nvGrpSpPr>
          <p:cNvPr id="9" name="Группа 1">
            <a:extLst>
              <a:ext uri="{FF2B5EF4-FFF2-40B4-BE49-F238E27FC236}">
                <a16:creationId xmlns:a16="http://schemas.microsoft.com/office/drawing/2014/main" id="{8284A97D-B91F-B8AF-BE61-DD197BFB30B3}"/>
              </a:ext>
            </a:extLst>
          </p:cNvPr>
          <p:cNvGrpSpPr/>
          <p:nvPr/>
        </p:nvGrpSpPr>
        <p:grpSpPr>
          <a:xfrm>
            <a:off x="4901371" y="856779"/>
            <a:ext cx="9773240" cy="5561188"/>
            <a:chOff x="4703929" y="717077"/>
            <a:chExt cx="9773238" cy="5561188"/>
          </a:xfrm>
        </p:grpSpPr>
        <p:sp>
          <p:nvSpPr>
            <p:cNvPr id="11" name="Полилиния 34">
              <a:extLst>
                <a:ext uri="{FF2B5EF4-FFF2-40B4-BE49-F238E27FC236}">
                  <a16:creationId xmlns:a16="http://schemas.microsoft.com/office/drawing/2014/main" id="{E28A4B6B-ECD8-1FB2-6108-63B31632DD91}"/>
                </a:ext>
              </a:extLst>
            </p:cNvPr>
            <p:cNvSpPr/>
            <p:nvPr/>
          </p:nvSpPr>
          <p:spPr>
            <a:xfrm>
              <a:off x="5555970" y="717077"/>
              <a:ext cx="7984744" cy="5414294"/>
            </a:xfrm>
            <a:custGeom>
              <a:avLst/>
              <a:gdLst>
                <a:gd name="connsiteX0" fmla="*/ 593737 w 15796902"/>
                <a:gd name="connsiteY0" fmla="*/ 0 h 10799762"/>
                <a:gd name="connsiteX1" fmla="*/ 2968613 w 15796902"/>
                <a:gd name="connsiteY1" fmla="*/ 0 h 10799762"/>
                <a:gd name="connsiteX2" fmla="*/ 2968615 w 15796902"/>
                <a:gd name="connsiteY2" fmla="*/ 0 h 10799762"/>
                <a:gd name="connsiteX3" fmla="*/ 12828290 w 15796902"/>
                <a:gd name="connsiteY3" fmla="*/ 0 h 10799762"/>
                <a:gd name="connsiteX4" fmla="*/ 14287500 w 15796902"/>
                <a:gd name="connsiteY4" fmla="*/ 0 h 10799762"/>
                <a:gd name="connsiteX5" fmla="*/ 15203166 w 15796902"/>
                <a:gd name="connsiteY5" fmla="*/ 0 h 10799762"/>
                <a:gd name="connsiteX6" fmla="*/ 15796902 w 15796902"/>
                <a:gd name="connsiteY6" fmla="*/ 593737 h 10799762"/>
                <a:gd name="connsiteX7" fmla="*/ 15796902 w 15796902"/>
                <a:gd name="connsiteY7" fmla="*/ 5080012 h 10799762"/>
                <a:gd name="connsiteX8" fmla="*/ 15796902 w 15796902"/>
                <a:gd name="connsiteY8" fmla="*/ 5719750 h 10799762"/>
                <a:gd name="connsiteX9" fmla="*/ 15796902 w 15796902"/>
                <a:gd name="connsiteY9" fmla="*/ 10206025 h 10799762"/>
                <a:gd name="connsiteX10" fmla="*/ 15203166 w 15796902"/>
                <a:gd name="connsiteY10" fmla="*/ 10799762 h 10799762"/>
                <a:gd name="connsiteX11" fmla="*/ 14287500 w 15796902"/>
                <a:gd name="connsiteY11" fmla="*/ 10799762 h 10799762"/>
                <a:gd name="connsiteX12" fmla="*/ 12828290 w 15796902"/>
                <a:gd name="connsiteY12" fmla="*/ 10799762 h 10799762"/>
                <a:gd name="connsiteX13" fmla="*/ 2968613 w 15796902"/>
                <a:gd name="connsiteY13" fmla="*/ 10799762 h 10799762"/>
                <a:gd name="connsiteX14" fmla="*/ 1781175 w 15796902"/>
                <a:gd name="connsiteY14" fmla="*/ 10799762 h 10799762"/>
                <a:gd name="connsiteX15" fmla="*/ 593737 w 15796902"/>
                <a:gd name="connsiteY15" fmla="*/ 10799762 h 10799762"/>
                <a:gd name="connsiteX16" fmla="*/ 0 w 15796902"/>
                <a:gd name="connsiteY16" fmla="*/ 10206025 h 10799762"/>
                <a:gd name="connsiteX17" fmla="*/ 0 w 15796902"/>
                <a:gd name="connsiteY17" fmla="*/ 5719750 h 10799762"/>
                <a:gd name="connsiteX18" fmla="*/ 0 w 15796902"/>
                <a:gd name="connsiteY18" fmla="*/ 5080012 h 10799762"/>
                <a:gd name="connsiteX19" fmla="*/ 0 w 15796902"/>
                <a:gd name="connsiteY19" fmla="*/ 593737 h 10799762"/>
                <a:gd name="connsiteX20" fmla="*/ 593737 w 15796902"/>
                <a:gd name="connsiteY20" fmla="*/ 0 h 10799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5796902" h="10799762">
                  <a:moveTo>
                    <a:pt x="593737" y="0"/>
                  </a:moveTo>
                  <a:lnTo>
                    <a:pt x="2968613" y="0"/>
                  </a:lnTo>
                  <a:lnTo>
                    <a:pt x="2968615" y="0"/>
                  </a:lnTo>
                  <a:lnTo>
                    <a:pt x="12828290" y="0"/>
                  </a:lnTo>
                  <a:lnTo>
                    <a:pt x="14287500" y="0"/>
                  </a:lnTo>
                  <a:lnTo>
                    <a:pt x="15203166" y="0"/>
                  </a:lnTo>
                  <a:cubicBezTo>
                    <a:pt x="15531078" y="0"/>
                    <a:pt x="15796902" y="265825"/>
                    <a:pt x="15796902" y="593737"/>
                  </a:cubicBezTo>
                  <a:lnTo>
                    <a:pt x="15796902" y="5080012"/>
                  </a:lnTo>
                  <a:lnTo>
                    <a:pt x="15796902" y="5719750"/>
                  </a:lnTo>
                  <a:lnTo>
                    <a:pt x="15796902" y="10206025"/>
                  </a:lnTo>
                  <a:cubicBezTo>
                    <a:pt x="15796902" y="10533937"/>
                    <a:pt x="15531078" y="10799762"/>
                    <a:pt x="15203166" y="10799762"/>
                  </a:cubicBezTo>
                  <a:lnTo>
                    <a:pt x="14287500" y="10799762"/>
                  </a:lnTo>
                  <a:lnTo>
                    <a:pt x="12828290" y="10799762"/>
                  </a:lnTo>
                  <a:lnTo>
                    <a:pt x="2968613" y="10799762"/>
                  </a:lnTo>
                  <a:lnTo>
                    <a:pt x="1781175" y="10799762"/>
                  </a:lnTo>
                  <a:lnTo>
                    <a:pt x="593737" y="10799762"/>
                  </a:lnTo>
                  <a:cubicBezTo>
                    <a:pt x="265825" y="10799762"/>
                    <a:pt x="0" y="10533937"/>
                    <a:pt x="0" y="10206025"/>
                  </a:cubicBezTo>
                  <a:lnTo>
                    <a:pt x="0" y="5719750"/>
                  </a:lnTo>
                  <a:lnTo>
                    <a:pt x="0" y="5080012"/>
                  </a:lnTo>
                  <a:lnTo>
                    <a:pt x="0" y="593737"/>
                  </a:lnTo>
                  <a:cubicBezTo>
                    <a:pt x="0" y="265825"/>
                    <a:pt x="265825" y="0"/>
                    <a:pt x="593737" y="0"/>
                  </a:cubicBezTo>
                  <a:close/>
                </a:path>
              </a:pathLst>
            </a:custGeom>
            <a:solidFill>
              <a:srgbClr val="3838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12" name="Полилиния 36">
              <a:extLst>
                <a:ext uri="{FF2B5EF4-FFF2-40B4-BE49-F238E27FC236}">
                  <a16:creationId xmlns:a16="http://schemas.microsoft.com/office/drawing/2014/main" id="{EF4093F3-5B89-808B-5A49-2C05CA29221D}"/>
                </a:ext>
              </a:extLst>
            </p:cNvPr>
            <p:cNvSpPr/>
            <p:nvPr/>
          </p:nvSpPr>
          <p:spPr>
            <a:xfrm>
              <a:off x="4703929" y="6202089"/>
              <a:ext cx="9773238" cy="76176"/>
            </a:xfrm>
            <a:custGeom>
              <a:avLst/>
              <a:gdLst>
                <a:gd name="connsiteX0" fmla="*/ 0 w 19335232"/>
                <a:gd name="connsiteY0" fmla="*/ 0 h 333694"/>
                <a:gd name="connsiteX1" fmla="*/ 19335232 w 19335232"/>
                <a:gd name="connsiteY1" fmla="*/ 0 h 333694"/>
                <a:gd name="connsiteX2" fmla="*/ 19322694 w 19335232"/>
                <a:gd name="connsiteY2" fmla="*/ 40390 h 333694"/>
                <a:gd name="connsiteX3" fmla="*/ 18880202 w 19335232"/>
                <a:gd name="connsiteY3" fmla="*/ 333694 h 333694"/>
                <a:gd name="connsiteX4" fmla="*/ 455030 w 19335232"/>
                <a:gd name="connsiteY4" fmla="*/ 333694 h 333694"/>
                <a:gd name="connsiteX5" fmla="*/ 12538 w 19335232"/>
                <a:gd name="connsiteY5" fmla="*/ 40390 h 333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335232" h="333694">
                  <a:moveTo>
                    <a:pt x="0" y="0"/>
                  </a:moveTo>
                  <a:lnTo>
                    <a:pt x="19335232" y="0"/>
                  </a:lnTo>
                  <a:lnTo>
                    <a:pt x="19322694" y="40390"/>
                  </a:lnTo>
                  <a:cubicBezTo>
                    <a:pt x="19249792" y="212753"/>
                    <a:pt x="19079120" y="333694"/>
                    <a:pt x="18880202" y="333694"/>
                  </a:cubicBezTo>
                  <a:lnTo>
                    <a:pt x="455030" y="333694"/>
                  </a:lnTo>
                  <a:cubicBezTo>
                    <a:pt x="256112" y="333694"/>
                    <a:pt x="85441" y="212753"/>
                    <a:pt x="12538" y="40390"/>
                  </a:cubicBezTo>
                  <a:close/>
                </a:path>
              </a:pathLst>
            </a:custGeom>
            <a:gradFill flip="none" rotWithShape="1">
              <a:gsLst>
                <a:gs pos="89000">
                  <a:srgbClr val="828282"/>
                </a:gs>
                <a:gs pos="0">
                  <a:srgbClr val="C5C5C5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13" name="Прямоугольник 6">
              <a:extLst>
                <a:ext uri="{FF2B5EF4-FFF2-40B4-BE49-F238E27FC236}">
                  <a16:creationId xmlns:a16="http://schemas.microsoft.com/office/drawing/2014/main" id="{9BB7D8C0-235F-16DA-F764-3D5F172DC9FE}"/>
                </a:ext>
              </a:extLst>
            </p:cNvPr>
            <p:cNvSpPr/>
            <p:nvPr/>
          </p:nvSpPr>
          <p:spPr>
            <a:xfrm>
              <a:off x="4703929" y="6015623"/>
              <a:ext cx="9773238" cy="186467"/>
            </a:xfrm>
            <a:prstGeom prst="rect">
              <a:avLst/>
            </a:prstGeom>
            <a:gradFill flip="none" rotWithShape="1">
              <a:gsLst>
                <a:gs pos="2000">
                  <a:srgbClr val="D5D5D5"/>
                </a:gs>
                <a:gs pos="1000">
                  <a:srgbClr val="F2F2F2"/>
                </a:gs>
                <a:gs pos="0">
                  <a:schemeClr val="tx1">
                    <a:alpha val="5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14" name="Полилиния 37">
              <a:extLst>
                <a:ext uri="{FF2B5EF4-FFF2-40B4-BE49-F238E27FC236}">
                  <a16:creationId xmlns:a16="http://schemas.microsoft.com/office/drawing/2014/main" id="{79A45F5B-3658-64C4-DAFE-C78E10E9BFF4}"/>
                </a:ext>
              </a:extLst>
            </p:cNvPr>
            <p:cNvSpPr/>
            <p:nvPr/>
          </p:nvSpPr>
          <p:spPr>
            <a:xfrm>
              <a:off x="8891012" y="6018701"/>
              <a:ext cx="1351391" cy="106495"/>
            </a:xfrm>
            <a:custGeom>
              <a:avLst/>
              <a:gdLst>
                <a:gd name="connsiteX0" fmla="*/ 0 w 2673572"/>
                <a:gd name="connsiteY0" fmla="*/ 0 h 212424"/>
                <a:gd name="connsiteX1" fmla="*/ 2673572 w 2673572"/>
                <a:gd name="connsiteY1" fmla="*/ 0 h 212424"/>
                <a:gd name="connsiteX2" fmla="*/ 2662629 w 2673572"/>
                <a:gd name="connsiteY2" fmla="*/ 54207 h 212424"/>
                <a:gd name="connsiteX3" fmla="*/ 2423935 w 2673572"/>
                <a:gd name="connsiteY3" fmla="*/ 212424 h 212424"/>
                <a:gd name="connsiteX4" fmla="*/ 249637 w 2673572"/>
                <a:gd name="connsiteY4" fmla="*/ 212424 h 212424"/>
                <a:gd name="connsiteX5" fmla="*/ 10944 w 2673572"/>
                <a:gd name="connsiteY5" fmla="*/ 54207 h 212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73572" h="212424">
                  <a:moveTo>
                    <a:pt x="0" y="0"/>
                  </a:moveTo>
                  <a:lnTo>
                    <a:pt x="2673572" y="0"/>
                  </a:lnTo>
                  <a:lnTo>
                    <a:pt x="2662629" y="54207"/>
                  </a:lnTo>
                  <a:cubicBezTo>
                    <a:pt x="2623302" y="147185"/>
                    <a:pt x="2531237" y="212424"/>
                    <a:pt x="2423935" y="212424"/>
                  </a:cubicBezTo>
                  <a:lnTo>
                    <a:pt x="249637" y="212424"/>
                  </a:lnTo>
                  <a:cubicBezTo>
                    <a:pt x="142335" y="212424"/>
                    <a:pt x="50270" y="147185"/>
                    <a:pt x="10944" y="54207"/>
                  </a:cubicBezTo>
                  <a:close/>
                </a:path>
              </a:pathLst>
            </a:custGeom>
            <a:gradFill>
              <a:gsLst>
                <a:gs pos="88000">
                  <a:srgbClr val="F2F2F2"/>
                </a:gs>
                <a:gs pos="12000">
                  <a:srgbClr val="F2F2F2"/>
                </a:gs>
                <a:gs pos="100000">
                  <a:srgbClr val="828282"/>
                </a:gs>
                <a:gs pos="0">
                  <a:srgbClr val="828282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grpSp>
          <p:nvGrpSpPr>
            <p:cNvPr id="15" name="Группа 26">
              <a:extLst>
                <a:ext uri="{FF2B5EF4-FFF2-40B4-BE49-F238E27FC236}">
                  <a16:creationId xmlns:a16="http://schemas.microsoft.com/office/drawing/2014/main" id="{B5B0BC25-B13A-EE20-46EF-4232DECFC473}"/>
                </a:ext>
              </a:extLst>
            </p:cNvPr>
            <p:cNvGrpSpPr/>
            <p:nvPr/>
          </p:nvGrpSpPr>
          <p:grpSpPr>
            <a:xfrm flipH="1">
              <a:off x="9572513" y="890239"/>
              <a:ext cx="23483" cy="22921"/>
              <a:chOff x="13422299" y="954496"/>
              <a:chExt cx="127026" cy="125005"/>
            </a:xfrm>
          </p:grpSpPr>
          <p:sp>
            <p:nvSpPr>
              <p:cNvPr id="16" name="Овал 29">
                <a:extLst>
                  <a:ext uri="{FF2B5EF4-FFF2-40B4-BE49-F238E27FC236}">
                    <a16:creationId xmlns:a16="http://schemas.microsoft.com/office/drawing/2014/main" id="{DA323E2A-BF8D-8151-E9CC-FEA4D626BED2}"/>
                  </a:ext>
                </a:extLst>
              </p:cNvPr>
              <p:cNvSpPr/>
              <p:nvPr/>
            </p:nvSpPr>
            <p:spPr>
              <a:xfrm>
                <a:off x="13422302" y="954496"/>
                <a:ext cx="127023" cy="125004"/>
              </a:xfrm>
              <a:prstGeom prst="ellipse">
                <a:avLst/>
              </a:prstGeom>
              <a:solidFill>
                <a:schemeClr val="bg1"/>
              </a:solidFill>
              <a:ln w="50800"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900"/>
              </a:p>
            </p:txBody>
          </p:sp>
          <p:sp>
            <p:nvSpPr>
              <p:cNvPr id="17" name="Овал 33">
                <a:extLst>
                  <a:ext uri="{FF2B5EF4-FFF2-40B4-BE49-F238E27FC236}">
                    <a16:creationId xmlns:a16="http://schemas.microsoft.com/office/drawing/2014/main" id="{B833599B-ED19-36F2-37A8-EF61691191D8}"/>
                  </a:ext>
                </a:extLst>
              </p:cNvPr>
              <p:cNvSpPr/>
              <p:nvPr/>
            </p:nvSpPr>
            <p:spPr>
              <a:xfrm>
                <a:off x="13422299" y="954497"/>
                <a:ext cx="127026" cy="125004"/>
              </a:xfrm>
              <a:prstGeom prst="ellipse">
                <a:avLst/>
              </a:prstGeom>
              <a:solidFill>
                <a:srgbClr val="002060"/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900"/>
              </a:p>
            </p:txBody>
          </p:sp>
        </p:grpSp>
      </p:grpSp>
      <p:grpSp>
        <p:nvGrpSpPr>
          <p:cNvPr id="22" name="Group 22">
            <a:extLst>
              <a:ext uri="{FF2B5EF4-FFF2-40B4-BE49-F238E27FC236}">
                <a16:creationId xmlns:a16="http://schemas.microsoft.com/office/drawing/2014/main" id="{B871208C-2243-0A1C-B20D-E8EBE5F4A9FB}"/>
              </a:ext>
            </a:extLst>
          </p:cNvPr>
          <p:cNvGrpSpPr>
            <a:grpSpLocks noChangeAspect="1"/>
          </p:cNvGrpSpPr>
          <p:nvPr/>
        </p:nvGrpSpPr>
        <p:grpSpPr>
          <a:xfrm>
            <a:off x="2037053" y="5717089"/>
            <a:ext cx="312000" cy="311952"/>
            <a:chOff x="3238499" y="8277225"/>
            <a:chExt cx="666750" cy="666750"/>
          </a:xfrm>
        </p:grpSpPr>
        <p:sp>
          <p:nvSpPr>
            <p:cNvPr id="23" name="Oval 23">
              <a:extLst>
                <a:ext uri="{FF2B5EF4-FFF2-40B4-BE49-F238E27FC236}">
                  <a16:creationId xmlns:a16="http://schemas.microsoft.com/office/drawing/2014/main" id="{CF2A66A0-555A-2E9D-6D60-F8ED68861928}"/>
                </a:ext>
              </a:extLst>
            </p:cNvPr>
            <p:cNvSpPr/>
            <p:nvPr/>
          </p:nvSpPr>
          <p:spPr>
            <a:xfrm>
              <a:off x="3238499" y="8277225"/>
              <a:ext cx="666750" cy="666750"/>
            </a:xfrm>
            <a:prstGeom prst="ellipse">
              <a:avLst/>
            </a:prstGeom>
            <a:solidFill>
              <a:schemeClr val="accent5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24" name="Freeform 24">
              <a:extLst>
                <a:ext uri="{FF2B5EF4-FFF2-40B4-BE49-F238E27FC236}">
                  <a16:creationId xmlns:a16="http://schemas.microsoft.com/office/drawing/2014/main" id="{D6F8CEED-9908-E2DA-7B21-693FD64ADFB9}"/>
                </a:ext>
              </a:extLst>
            </p:cNvPr>
            <p:cNvSpPr/>
            <p:nvPr/>
          </p:nvSpPr>
          <p:spPr bwMode="auto">
            <a:xfrm>
              <a:off x="3502483" y="8426894"/>
              <a:ext cx="189583" cy="367412"/>
            </a:xfrm>
            <a:custGeom>
              <a:avLst/>
              <a:gdLst>
                <a:gd name="T0" fmla="*/ 461 w 461"/>
                <a:gd name="T1" fmla="*/ 448 h 895"/>
                <a:gd name="T2" fmla="*/ 457 w 461"/>
                <a:gd name="T3" fmla="*/ 457 h 895"/>
                <a:gd name="T4" fmla="*/ 22 w 461"/>
                <a:gd name="T5" fmla="*/ 892 h 895"/>
                <a:gd name="T6" fmla="*/ 14 w 461"/>
                <a:gd name="T7" fmla="*/ 895 h 895"/>
                <a:gd name="T8" fmla="*/ 5 w 461"/>
                <a:gd name="T9" fmla="*/ 892 h 895"/>
                <a:gd name="T10" fmla="*/ 5 w 461"/>
                <a:gd name="T11" fmla="*/ 874 h 895"/>
                <a:gd name="T12" fmla="*/ 431 w 461"/>
                <a:gd name="T13" fmla="*/ 448 h 895"/>
                <a:gd name="T14" fmla="*/ 6 w 461"/>
                <a:gd name="T15" fmla="*/ 23 h 895"/>
                <a:gd name="T16" fmla="*/ 6 w 461"/>
                <a:gd name="T17" fmla="*/ 5 h 895"/>
                <a:gd name="T18" fmla="*/ 24 w 461"/>
                <a:gd name="T19" fmla="*/ 5 h 895"/>
                <a:gd name="T20" fmla="*/ 457 w 461"/>
                <a:gd name="T21" fmla="*/ 439 h 895"/>
                <a:gd name="T22" fmla="*/ 461 w 461"/>
                <a:gd name="T23" fmla="*/ 448 h 8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1" h="895">
                  <a:moveTo>
                    <a:pt x="461" y="448"/>
                  </a:moveTo>
                  <a:cubicBezTo>
                    <a:pt x="461" y="452"/>
                    <a:pt x="460" y="454"/>
                    <a:pt x="457" y="457"/>
                  </a:cubicBezTo>
                  <a:lnTo>
                    <a:pt x="22" y="892"/>
                  </a:lnTo>
                  <a:cubicBezTo>
                    <a:pt x="20" y="894"/>
                    <a:pt x="16" y="895"/>
                    <a:pt x="14" y="895"/>
                  </a:cubicBezTo>
                  <a:cubicBezTo>
                    <a:pt x="11" y="895"/>
                    <a:pt x="7" y="894"/>
                    <a:pt x="5" y="892"/>
                  </a:cubicBezTo>
                  <a:cubicBezTo>
                    <a:pt x="0" y="887"/>
                    <a:pt x="0" y="879"/>
                    <a:pt x="5" y="874"/>
                  </a:cubicBezTo>
                  <a:lnTo>
                    <a:pt x="431" y="448"/>
                  </a:lnTo>
                  <a:lnTo>
                    <a:pt x="6" y="23"/>
                  </a:lnTo>
                  <a:cubicBezTo>
                    <a:pt x="1" y="18"/>
                    <a:pt x="1" y="10"/>
                    <a:pt x="6" y="5"/>
                  </a:cubicBezTo>
                  <a:cubicBezTo>
                    <a:pt x="11" y="0"/>
                    <a:pt x="19" y="0"/>
                    <a:pt x="24" y="5"/>
                  </a:cubicBezTo>
                  <a:lnTo>
                    <a:pt x="457" y="439"/>
                  </a:lnTo>
                  <a:cubicBezTo>
                    <a:pt x="460" y="442"/>
                    <a:pt x="461" y="444"/>
                    <a:pt x="461" y="448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</a:ln>
          </p:spPr>
          <p:txBody>
            <a:bodyPr vert="horz" wrap="square" lIns="137160" tIns="68580" rIns="137160" bIns="68580" numCol="1" anchor="t" anchorCtr="0" compatLnSpc="1"/>
            <a:lstStyle/>
            <a:p>
              <a:endParaRPr lang="en-US" sz="2700"/>
            </a:p>
          </p:txBody>
        </p:sp>
      </p:grpSp>
      <p:sp>
        <p:nvSpPr>
          <p:cNvPr id="26" name="PA_TextPlaceholder 1">
            <a:extLst>
              <a:ext uri="{FF2B5EF4-FFF2-40B4-BE49-F238E27FC236}">
                <a16:creationId xmlns:a16="http://schemas.microsoft.com/office/drawing/2014/main" id="{1521B35C-3885-DC5B-94B9-4759FEF9525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216357" y="2871458"/>
            <a:ext cx="4051121" cy="2457579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优点：</a:t>
            </a:r>
            <a:endParaRPr lang="en-US" altLang="zh-CN" sz="1400" dirty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支持歌词与旋律的协同生成，能够提供较完整的歌曲创作方案；</a:t>
            </a:r>
            <a:b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音频情感控制细腻，适合情感化音乐内容创作。</a:t>
            </a:r>
            <a:endParaRPr lang="en-US" altLang="zh-CN" sz="1400" dirty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缺点：</a:t>
            </a:r>
            <a:endParaRPr lang="en-US" altLang="zh-CN" sz="1400" dirty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商用授权需要额外处理，使用门槛和成本较高</a:t>
            </a:r>
            <a:endParaRPr lang="en-US" altLang="zh-CN" sz="1400" dirty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部分歌词表述不清</a:t>
            </a:r>
            <a:endParaRPr lang="en-US" altLang="zh-CN" sz="1400" dirty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buNone/>
            </a:pPr>
            <a:endParaRPr lang="en-US" sz="14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27" name="PA_TextPlaceholder 2">
            <a:extLst>
              <a:ext uri="{FF2B5EF4-FFF2-40B4-BE49-F238E27FC236}">
                <a16:creationId xmlns:a16="http://schemas.microsoft.com/office/drawing/2014/main" id="{F3892F83-9F8C-C877-3067-D6C0AA28AAE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84976" y="1597191"/>
            <a:ext cx="4051121" cy="1503831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3600" b="1" dirty="0" err="1">
                <a:solidFill>
                  <a:srgbClr val="404040"/>
                </a:solidFill>
                <a:latin typeface="Inter"/>
              </a:rPr>
              <a:t>Suno</a:t>
            </a:r>
            <a:r>
              <a:rPr lang="en-US" altLang="zh-CN" sz="3600" b="1" dirty="0">
                <a:solidFill>
                  <a:srgbClr val="404040"/>
                </a:solidFill>
                <a:latin typeface="Inter"/>
              </a:rPr>
              <a:t> AI</a:t>
            </a:r>
            <a:endParaRPr lang="en-US" sz="3600" b="1" dirty="0">
              <a:solidFill>
                <a:srgbClr val="404040"/>
              </a:solidFill>
              <a:latin typeface="Inter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AC9F719C-6B32-73D7-97A3-CBF496FE3AF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35404" y="1706310"/>
            <a:ext cx="7620761" cy="4008982"/>
          </a:xfrm>
          <a:prstGeom prst="rect">
            <a:avLst/>
          </a:prstGeom>
        </p:spPr>
      </p:pic>
      <p:pic>
        <p:nvPicPr>
          <p:cNvPr id="5" name="星空之梦">
            <a:hlinkClick r:id="" action="ppaction://media"/>
            <a:extLst>
              <a:ext uri="{FF2B5EF4-FFF2-40B4-BE49-F238E27FC236}">
                <a16:creationId xmlns:a16="http://schemas.microsoft.com/office/drawing/2014/main" id="{A24F5CE2-3E34-2BD9-9384-2882E3AF9DEF}"/>
              </a:ext>
            </a:extLst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6096000" y="173476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3703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3000"/>
    </mc:Choice>
    <mc:Fallback xmlns="">
      <p:transition advTm="3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ur="500" decel="5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2" dur="1920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13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šḷiḋ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ṧḻîdé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í$ḻidé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8" name="组合 7"/>
          <p:cNvGrpSpPr/>
          <p:nvPr/>
        </p:nvGrpSpPr>
        <p:grpSpPr>
          <a:xfrm rot="16200000">
            <a:off x="-1289434" y="1721098"/>
            <a:ext cx="5543967" cy="3415803"/>
            <a:chOff x="-379056" y="1311437"/>
            <a:chExt cx="6253842" cy="3853178"/>
          </a:xfrm>
        </p:grpSpPr>
        <p:sp>
          <p:nvSpPr>
            <p:cNvPr id="14" name="îs1iḍé"/>
            <p:cNvSpPr/>
            <p:nvPr userDrawn="1"/>
          </p:nvSpPr>
          <p:spPr>
            <a:xfrm rot="5772073">
              <a:off x="2102886" y="1311437"/>
              <a:ext cx="3771900" cy="3771900"/>
            </a:xfrm>
            <a:prstGeom prst="ellips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28294">
                  <a:schemeClr val="tx2">
                    <a:alpha val="45000"/>
                  </a:schemeClr>
                </a:gs>
                <a:gs pos="94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ïṧ1îḍê"/>
            <p:cNvSpPr/>
            <p:nvPr userDrawn="1"/>
          </p:nvSpPr>
          <p:spPr>
            <a:xfrm rot="17450176">
              <a:off x="-379056" y="1392715"/>
              <a:ext cx="3771900" cy="3771900"/>
            </a:xfrm>
            <a:prstGeom prst="ellips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28294">
                  <a:schemeClr val="tx2">
                    <a:alpha val="33000"/>
                  </a:schemeClr>
                </a:gs>
                <a:gs pos="94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7" name="ïŝḻídè"/>
          <p:cNvSpPr/>
          <p:nvPr userDrawn="1"/>
        </p:nvSpPr>
        <p:spPr>
          <a:xfrm rot="1422970">
            <a:off x="10362709" y="2198486"/>
            <a:ext cx="1128930" cy="1128930"/>
          </a:xfrm>
          <a:prstGeom prst="ellipse">
            <a:avLst/>
          </a:prstGeom>
          <a:gradFill>
            <a:gsLst>
              <a:gs pos="0">
                <a:schemeClr val="accent1">
                  <a:alpha val="0"/>
                </a:schemeClr>
              </a:gs>
              <a:gs pos="28294">
                <a:schemeClr val="bg2">
                  <a:alpha val="23000"/>
                </a:schemeClr>
              </a:gs>
              <a:gs pos="94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Text Placeholder 47"/>
          <p:cNvSpPr txBox="1"/>
          <p:nvPr/>
        </p:nvSpPr>
        <p:spPr>
          <a:xfrm>
            <a:off x="4554031" y="3512953"/>
            <a:ext cx="5062307" cy="159241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endParaRPr lang="en-US" sz="1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Text Placeholder 46"/>
          <p:cNvSpPr txBox="1"/>
          <p:nvPr/>
        </p:nvSpPr>
        <p:spPr>
          <a:xfrm>
            <a:off x="4764447" y="3327947"/>
            <a:ext cx="4330248" cy="64963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indent="0" defTabSz="9144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600">
                <a:latin typeface="Aharoni" pitchFamily="2" charset="-79"/>
                <a:cs typeface="Aharoni" pitchFamily="2" charset="-79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zh-CN" altLang="en-US" dirty="0"/>
              <a:t>国内前十大模型分析</a:t>
            </a:r>
            <a:endParaRPr lang="en-US" dirty="0"/>
          </a:p>
        </p:txBody>
      </p:sp>
      <p:sp>
        <p:nvSpPr>
          <p:cNvPr id="11" name="Text Placeholder 46"/>
          <p:cNvSpPr txBox="1"/>
          <p:nvPr/>
        </p:nvSpPr>
        <p:spPr>
          <a:xfrm>
            <a:off x="4764447" y="2471324"/>
            <a:ext cx="4330248" cy="64963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6000" dirty="0">
                <a:solidFill>
                  <a:schemeClr val="accent4"/>
                </a:solidFill>
              </a:rPr>
              <a:t>第三部分</a:t>
            </a:r>
            <a:endParaRPr lang="en-US" sz="6000" dirty="0">
              <a:solidFill>
                <a:schemeClr val="accent4"/>
              </a:solidFill>
            </a:endParaRPr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3000"/>
    </mc:Choice>
    <mc:Fallback xmlns="">
      <p:transition advTm="3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ur="50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2" presetID="53" presetClass="entr" presetSubtype="16" dur="5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8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 tmFilter="0,0; .5, 1; 1, 1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 tmFilter="0,0; .5, 1; 1, 1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 nodeType="afterGroup">
                            <p:stCondLst>
                              <p:cond delay="1900"/>
                            </p:stCondLst>
                            <p:childTnLst>
                              <p:par>
                                <p:cTn id="33" presetID="22" presetClass="entr" presetSubtype="4" dur="5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9" grpId="0"/>
      <p:bldP spid="10" grpId="0"/>
      <p:bldP spid="11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2"/>
          <p:cNvSpPr txBox="1"/>
          <p:nvPr/>
        </p:nvSpPr>
        <p:spPr>
          <a:xfrm>
            <a:off x="1714365" y="4160027"/>
            <a:ext cx="3399367" cy="848953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多模态扩展能力不足，主要聚焦文本推理；</a:t>
            </a:r>
            <a:b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目前服务器压力大</a:t>
            </a:r>
            <a:endParaRPr lang="en-US" sz="14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4" name="Text Placeholder 5"/>
          <p:cNvSpPr txBox="1"/>
          <p:nvPr/>
        </p:nvSpPr>
        <p:spPr>
          <a:xfrm>
            <a:off x="1659900" y="1072311"/>
            <a:ext cx="4053651" cy="330149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3600" b="1" dirty="0">
                <a:solidFill>
                  <a:srgbClr val="404040"/>
                </a:solidFill>
                <a:latin typeface="Inter"/>
              </a:rPr>
              <a:t>DeepSeek-R1</a:t>
            </a:r>
            <a:endParaRPr lang="en-US" sz="3600" b="1" dirty="0">
              <a:solidFill>
                <a:srgbClr val="404040"/>
              </a:solidFill>
              <a:latin typeface="Inter"/>
            </a:endParaRPr>
          </a:p>
        </p:txBody>
      </p:sp>
      <p:sp>
        <p:nvSpPr>
          <p:cNvPr id="5" name="Text Placeholder 13"/>
          <p:cNvSpPr txBox="1"/>
          <p:nvPr/>
        </p:nvSpPr>
        <p:spPr>
          <a:xfrm>
            <a:off x="1714365" y="3859423"/>
            <a:ext cx="3399367" cy="507923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500" dirty="0"/>
              <a:t>缺点</a:t>
            </a:r>
            <a:endParaRPr lang="en-US" sz="1500" dirty="0"/>
          </a:p>
        </p:txBody>
      </p:sp>
      <p:sp>
        <p:nvSpPr>
          <p:cNvPr id="8" name="Text Placeholder 16"/>
          <p:cNvSpPr txBox="1"/>
          <p:nvPr/>
        </p:nvSpPr>
        <p:spPr>
          <a:xfrm>
            <a:off x="1717533" y="2623856"/>
            <a:ext cx="3399367" cy="848953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在数学推理方面超越</a:t>
            </a: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GPT-4.5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（</a:t>
            </a: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MMLU-Math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达</a:t>
            </a: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92.1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），适用于科研和工程计算；</a:t>
            </a:r>
            <a:b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开源协议宽松，便于企业级应用与定制开发。</a:t>
            </a:r>
            <a:endParaRPr lang="en-US" sz="14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9" name="Text Placeholder 17"/>
          <p:cNvSpPr txBox="1"/>
          <p:nvPr/>
        </p:nvSpPr>
        <p:spPr>
          <a:xfrm>
            <a:off x="1717533" y="2375568"/>
            <a:ext cx="3399367" cy="507923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500" dirty="0"/>
              <a:t>优点</a:t>
            </a:r>
            <a:endParaRPr lang="en-US" sz="1500" dirty="0"/>
          </a:p>
        </p:txBody>
      </p:sp>
      <p:sp>
        <p:nvSpPr>
          <p:cNvPr id="10" name="Freeform 10"/>
          <p:cNvSpPr>
            <a:spLocks noChangeAspect="1" noEditPoints="1"/>
          </p:cNvSpPr>
          <p:nvPr/>
        </p:nvSpPr>
        <p:spPr bwMode="auto">
          <a:xfrm>
            <a:off x="1060081" y="4007403"/>
            <a:ext cx="360671" cy="359945"/>
          </a:xfrm>
          <a:custGeom>
            <a:avLst/>
            <a:gdLst>
              <a:gd name="T0" fmla="*/ 159 w 803"/>
              <a:gd name="T1" fmla="*/ 85 h 802"/>
              <a:gd name="T2" fmla="*/ 64 w 803"/>
              <a:gd name="T3" fmla="*/ 2 h 802"/>
              <a:gd name="T4" fmla="*/ 55 w 803"/>
              <a:gd name="T5" fmla="*/ 55 h 802"/>
              <a:gd name="T6" fmla="*/ 3 w 803"/>
              <a:gd name="T7" fmla="*/ 63 h 802"/>
              <a:gd name="T8" fmla="*/ 85 w 803"/>
              <a:gd name="T9" fmla="*/ 158 h 802"/>
              <a:gd name="T10" fmla="*/ 143 w 803"/>
              <a:gd name="T11" fmla="*/ 162 h 802"/>
              <a:gd name="T12" fmla="*/ 403 w 803"/>
              <a:gd name="T13" fmla="*/ 416 h 802"/>
              <a:gd name="T14" fmla="*/ 413 w 803"/>
              <a:gd name="T15" fmla="*/ 393 h 802"/>
              <a:gd name="T16" fmla="*/ 403 w 803"/>
              <a:gd name="T17" fmla="*/ 348 h 802"/>
              <a:gd name="T18" fmla="*/ 403 w 803"/>
              <a:gd name="T19" fmla="*/ 456 h 802"/>
              <a:gd name="T20" fmla="*/ 335 w 803"/>
              <a:gd name="T21" fmla="*/ 388 h 802"/>
              <a:gd name="T22" fmla="*/ 402 w 803"/>
              <a:gd name="T23" fmla="*/ 482 h 802"/>
              <a:gd name="T24" fmla="*/ 402 w 803"/>
              <a:gd name="T25" fmla="*/ 322 h 802"/>
              <a:gd name="T26" fmla="*/ 299 w 803"/>
              <a:gd name="T27" fmla="*/ 280 h 802"/>
              <a:gd name="T28" fmla="*/ 563 w 803"/>
              <a:gd name="T29" fmla="*/ 402 h 802"/>
              <a:gd name="T30" fmla="*/ 243 w 803"/>
              <a:gd name="T31" fmla="*/ 402 h 802"/>
              <a:gd name="T32" fmla="*/ 253 w 803"/>
              <a:gd name="T33" fmla="*/ 315 h 802"/>
              <a:gd name="T34" fmla="*/ 217 w 803"/>
              <a:gd name="T35" fmla="*/ 402 h 802"/>
              <a:gd name="T36" fmla="*/ 589 w 803"/>
              <a:gd name="T37" fmla="*/ 402 h 802"/>
              <a:gd name="T38" fmla="*/ 280 w 803"/>
              <a:gd name="T39" fmla="*/ 262 h 802"/>
              <a:gd name="T40" fmla="*/ 403 w 803"/>
              <a:gd name="T41" fmla="*/ 137 h 802"/>
              <a:gd name="T42" fmla="*/ 403 w 803"/>
              <a:gd name="T43" fmla="*/ 670 h 802"/>
              <a:gd name="T44" fmla="*/ 180 w 803"/>
              <a:gd name="T45" fmla="*/ 257 h 802"/>
              <a:gd name="T46" fmla="*/ 158 w 803"/>
              <a:gd name="T47" fmla="*/ 242 h 802"/>
              <a:gd name="T48" fmla="*/ 403 w 803"/>
              <a:gd name="T49" fmla="*/ 697 h 802"/>
              <a:gd name="T50" fmla="*/ 403 w 803"/>
              <a:gd name="T51" fmla="*/ 110 h 802"/>
              <a:gd name="T52" fmla="*/ 163 w 803"/>
              <a:gd name="T53" fmla="*/ 145 h 802"/>
              <a:gd name="T54" fmla="*/ 403 w 803"/>
              <a:gd name="T55" fmla="*/ 30 h 802"/>
              <a:gd name="T56" fmla="*/ 403 w 803"/>
              <a:gd name="T57" fmla="*/ 777 h 802"/>
              <a:gd name="T58" fmla="*/ 87 w 803"/>
              <a:gd name="T59" fmla="*/ 205 h 802"/>
              <a:gd name="T60" fmla="*/ 64 w 803"/>
              <a:gd name="T61" fmla="*/ 190 h 802"/>
              <a:gd name="T62" fmla="*/ 403 w 803"/>
              <a:gd name="T63" fmla="*/ 802 h 802"/>
              <a:gd name="T64" fmla="*/ 403 w 803"/>
              <a:gd name="T65" fmla="*/ 1 h 802"/>
              <a:gd name="T66" fmla="*/ 102 w 803"/>
              <a:gd name="T67" fmla="*/ 135 h 802"/>
              <a:gd name="T68" fmla="*/ 69 w 803"/>
              <a:gd name="T69" fmla="*/ 81 h 802"/>
              <a:gd name="T70" fmla="*/ 83 w 803"/>
              <a:gd name="T71" fmla="*/ 46 h 802"/>
              <a:gd name="T72" fmla="*/ 137 w 803"/>
              <a:gd name="T73" fmla="*/ 135 h 8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03" h="802">
                <a:moveTo>
                  <a:pt x="403" y="1"/>
                </a:moveTo>
                <a:cubicBezTo>
                  <a:pt x="314" y="1"/>
                  <a:pt x="228" y="31"/>
                  <a:pt x="159" y="85"/>
                </a:cubicBezTo>
                <a:lnTo>
                  <a:pt x="79" y="5"/>
                </a:lnTo>
                <a:cubicBezTo>
                  <a:pt x="75" y="1"/>
                  <a:pt x="69" y="0"/>
                  <a:pt x="64" y="2"/>
                </a:cubicBezTo>
                <a:cubicBezTo>
                  <a:pt x="59" y="5"/>
                  <a:pt x="55" y="10"/>
                  <a:pt x="55" y="15"/>
                </a:cubicBezTo>
                <a:lnTo>
                  <a:pt x="55" y="55"/>
                </a:lnTo>
                <a:lnTo>
                  <a:pt x="15" y="55"/>
                </a:lnTo>
                <a:cubicBezTo>
                  <a:pt x="10" y="55"/>
                  <a:pt x="5" y="59"/>
                  <a:pt x="3" y="63"/>
                </a:cubicBezTo>
                <a:cubicBezTo>
                  <a:pt x="0" y="68"/>
                  <a:pt x="2" y="75"/>
                  <a:pt x="5" y="78"/>
                </a:cubicBezTo>
                <a:lnTo>
                  <a:pt x="85" y="158"/>
                </a:lnTo>
                <a:cubicBezTo>
                  <a:pt x="88" y="161"/>
                  <a:pt x="92" y="162"/>
                  <a:pt x="95" y="162"/>
                </a:cubicBezTo>
                <a:lnTo>
                  <a:pt x="143" y="162"/>
                </a:lnTo>
                <a:lnTo>
                  <a:pt x="393" y="412"/>
                </a:lnTo>
                <a:cubicBezTo>
                  <a:pt x="395" y="415"/>
                  <a:pt x="399" y="416"/>
                  <a:pt x="403" y="416"/>
                </a:cubicBezTo>
                <a:cubicBezTo>
                  <a:pt x="407" y="416"/>
                  <a:pt x="409" y="415"/>
                  <a:pt x="413" y="412"/>
                </a:cubicBezTo>
                <a:cubicBezTo>
                  <a:pt x="418" y="407"/>
                  <a:pt x="418" y="398"/>
                  <a:pt x="413" y="393"/>
                </a:cubicBezTo>
                <a:lnTo>
                  <a:pt x="375" y="356"/>
                </a:lnTo>
                <a:cubicBezTo>
                  <a:pt x="383" y="351"/>
                  <a:pt x="392" y="348"/>
                  <a:pt x="403" y="348"/>
                </a:cubicBezTo>
                <a:cubicBezTo>
                  <a:pt x="433" y="348"/>
                  <a:pt x="457" y="372"/>
                  <a:pt x="457" y="402"/>
                </a:cubicBezTo>
                <a:cubicBezTo>
                  <a:pt x="457" y="432"/>
                  <a:pt x="433" y="456"/>
                  <a:pt x="403" y="456"/>
                </a:cubicBezTo>
                <a:cubicBezTo>
                  <a:pt x="373" y="456"/>
                  <a:pt x="349" y="432"/>
                  <a:pt x="349" y="402"/>
                </a:cubicBezTo>
                <a:cubicBezTo>
                  <a:pt x="349" y="395"/>
                  <a:pt x="343" y="388"/>
                  <a:pt x="335" y="388"/>
                </a:cubicBezTo>
                <a:cubicBezTo>
                  <a:pt x="328" y="388"/>
                  <a:pt x="322" y="395"/>
                  <a:pt x="322" y="402"/>
                </a:cubicBezTo>
                <a:cubicBezTo>
                  <a:pt x="322" y="446"/>
                  <a:pt x="358" y="482"/>
                  <a:pt x="402" y="482"/>
                </a:cubicBezTo>
                <a:cubicBezTo>
                  <a:pt x="445" y="482"/>
                  <a:pt x="482" y="446"/>
                  <a:pt x="482" y="402"/>
                </a:cubicBezTo>
                <a:cubicBezTo>
                  <a:pt x="482" y="358"/>
                  <a:pt x="445" y="322"/>
                  <a:pt x="402" y="322"/>
                </a:cubicBezTo>
                <a:cubicBezTo>
                  <a:pt x="384" y="322"/>
                  <a:pt x="368" y="327"/>
                  <a:pt x="355" y="336"/>
                </a:cubicBezTo>
                <a:lnTo>
                  <a:pt x="299" y="280"/>
                </a:lnTo>
                <a:cubicBezTo>
                  <a:pt x="328" y="255"/>
                  <a:pt x="364" y="242"/>
                  <a:pt x="403" y="242"/>
                </a:cubicBezTo>
                <a:cubicBezTo>
                  <a:pt x="492" y="242"/>
                  <a:pt x="563" y="313"/>
                  <a:pt x="563" y="402"/>
                </a:cubicBezTo>
                <a:cubicBezTo>
                  <a:pt x="563" y="491"/>
                  <a:pt x="492" y="562"/>
                  <a:pt x="403" y="562"/>
                </a:cubicBezTo>
                <a:cubicBezTo>
                  <a:pt x="314" y="562"/>
                  <a:pt x="243" y="491"/>
                  <a:pt x="243" y="402"/>
                </a:cubicBezTo>
                <a:cubicBezTo>
                  <a:pt x="243" y="379"/>
                  <a:pt x="248" y="355"/>
                  <a:pt x="259" y="332"/>
                </a:cubicBezTo>
                <a:cubicBezTo>
                  <a:pt x="263" y="326"/>
                  <a:pt x="259" y="317"/>
                  <a:pt x="253" y="315"/>
                </a:cubicBezTo>
                <a:cubicBezTo>
                  <a:pt x="247" y="311"/>
                  <a:pt x="238" y="315"/>
                  <a:pt x="235" y="321"/>
                </a:cubicBezTo>
                <a:cubicBezTo>
                  <a:pt x="223" y="347"/>
                  <a:pt x="217" y="375"/>
                  <a:pt x="217" y="402"/>
                </a:cubicBezTo>
                <a:cubicBezTo>
                  <a:pt x="217" y="505"/>
                  <a:pt x="300" y="588"/>
                  <a:pt x="403" y="588"/>
                </a:cubicBezTo>
                <a:cubicBezTo>
                  <a:pt x="505" y="588"/>
                  <a:pt x="589" y="505"/>
                  <a:pt x="589" y="402"/>
                </a:cubicBezTo>
                <a:cubicBezTo>
                  <a:pt x="589" y="300"/>
                  <a:pt x="505" y="216"/>
                  <a:pt x="403" y="216"/>
                </a:cubicBezTo>
                <a:cubicBezTo>
                  <a:pt x="358" y="216"/>
                  <a:pt x="314" y="232"/>
                  <a:pt x="280" y="262"/>
                </a:cubicBezTo>
                <a:lnTo>
                  <a:pt x="224" y="206"/>
                </a:lnTo>
                <a:cubicBezTo>
                  <a:pt x="273" y="161"/>
                  <a:pt x="337" y="137"/>
                  <a:pt x="403" y="137"/>
                </a:cubicBezTo>
                <a:cubicBezTo>
                  <a:pt x="550" y="137"/>
                  <a:pt x="669" y="257"/>
                  <a:pt x="669" y="404"/>
                </a:cubicBezTo>
                <a:cubicBezTo>
                  <a:pt x="669" y="550"/>
                  <a:pt x="549" y="670"/>
                  <a:pt x="403" y="670"/>
                </a:cubicBezTo>
                <a:cubicBezTo>
                  <a:pt x="255" y="670"/>
                  <a:pt x="137" y="550"/>
                  <a:pt x="137" y="404"/>
                </a:cubicBezTo>
                <a:cubicBezTo>
                  <a:pt x="137" y="351"/>
                  <a:pt x="152" y="301"/>
                  <a:pt x="180" y="257"/>
                </a:cubicBezTo>
                <a:cubicBezTo>
                  <a:pt x="184" y="251"/>
                  <a:pt x="183" y="242"/>
                  <a:pt x="177" y="239"/>
                </a:cubicBezTo>
                <a:cubicBezTo>
                  <a:pt x="170" y="235"/>
                  <a:pt x="162" y="236"/>
                  <a:pt x="158" y="242"/>
                </a:cubicBezTo>
                <a:cubicBezTo>
                  <a:pt x="127" y="290"/>
                  <a:pt x="109" y="346"/>
                  <a:pt x="109" y="404"/>
                </a:cubicBezTo>
                <a:cubicBezTo>
                  <a:pt x="109" y="565"/>
                  <a:pt x="240" y="697"/>
                  <a:pt x="403" y="697"/>
                </a:cubicBezTo>
                <a:cubicBezTo>
                  <a:pt x="565" y="697"/>
                  <a:pt x="697" y="566"/>
                  <a:pt x="697" y="404"/>
                </a:cubicBezTo>
                <a:cubicBezTo>
                  <a:pt x="697" y="241"/>
                  <a:pt x="565" y="110"/>
                  <a:pt x="403" y="110"/>
                </a:cubicBezTo>
                <a:cubicBezTo>
                  <a:pt x="329" y="110"/>
                  <a:pt x="259" y="137"/>
                  <a:pt x="205" y="187"/>
                </a:cubicBezTo>
                <a:lnTo>
                  <a:pt x="163" y="145"/>
                </a:lnTo>
                <a:lnTo>
                  <a:pt x="163" y="117"/>
                </a:lnTo>
                <a:cubicBezTo>
                  <a:pt x="230" y="61"/>
                  <a:pt x="315" y="30"/>
                  <a:pt x="403" y="30"/>
                </a:cubicBezTo>
                <a:cubicBezTo>
                  <a:pt x="609" y="30"/>
                  <a:pt x="777" y="197"/>
                  <a:pt x="777" y="404"/>
                </a:cubicBezTo>
                <a:cubicBezTo>
                  <a:pt x="777" y="610"/>
                  <a:pt x="609" y="777"/>
                  <a:pt x="403" y="777"/>
                </a:cubicBezTo>
                <a:cubicBezTo>
                  <a:pt x="197" y="777"/>
                  <a:pt x="29" y="610"/>
                  <a:pt x="29" y="404"/>
                </a:cubicBezTo>
                <a:cubicBezTo>
                  <a:pt x="29" y="334"/>
                  <a:pt x="49" y="265"/>
                  <a:pt x="87" y="205"/>
                </a:cubicBezTo>
                <a:cubicBezTo>
                  <a:pt x="90" y="199"/>
                  <a:pt x="89" y="190"/>
                  <a:pt x="83" y="186"/>
                </a:cubicBezTo>
                <a:cubicBezTo>
                  <a:pt x="77" y="182"/>
                  <a:pt x="68" y="184"/>
                  <a:pt x="64" y="190"/>
                </a:cubicBezTo>
                <a:cubicBezTo>
                  <a:pt x="24" y="254"/>
                  <a:pt x="3" y="327"/>
                  <a:pt x="3" y="402"/>
                </a:cubicBezTo>
                <a:cubicBezTo>
                  <a:pt x="3" y="622"/>
                  <a:pt x="183" y="802"/>
                  <a:pt x="403" y="802"/>
                </a:cubicBezTo>
                <a:cubicBezTo>
                  <a:pt x="623" y="802"/>
                  <a:pt x="803" y="622"/>
                  <a:pt x="803" y="402"/>
                </a:cubicBezTo>
                <a:cubicBezTo>
                  <a:pt x="803" y="181"/>
                  <a:pt x="623" y="1"/>
                  <a:pt x="403" y="1"/>
                </a:cubicBezTo>
                <a:close/>
                <a:moveTo>
                  <a:pt x="137" y="135"/>
                </a:moveTo>
                <a:lnTo>
                  <a:pt x="102" y="135"/>
                </a:lnTo>
                <a:lnTo>
                  <a:pt x="48" y="81"/>
                </a:lnTo>
                <a:lnTo>
                  <a:pt x="69" y="81"/>
                </a:lnTo>
                <a:cubicBezTo>
                  <a:pt x="77" y="81"/>
                  <a:pt x="83" y="75"/>
                  <a:pt x="83" y="67"/>
                </a:cubicBezTo>
                <a:lnTo>
                  <a:pt x="83" y="46"/>
                </a:lnTo>
                <a:lnTo>
                  <a:pt x="137" y="100"/>
                </a:lnTo>
                <a:lnTo>
                  <a:pt x="137" y="135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 w="0">
            <a:noFill/>
            <a:prstDash val="solid"/>
            <a:round/>
          </a:ln>
        </p:spPr>
        <p:txBody>
          <a:bodyPr vert="horz" wrap="square" lIns="91424" tIns="45712" rIns="91424" bIns="45712" numCol="1" anchor="t" anchorCtr="0" compatLnSpc="1"/>
          <a:lstStyle/>
          <a:p>
            <a:pPr defTabSz="913765"/>
            <a:endParaRPr lang="en-US" sz="1200">
              <a:solidFill>
                <a:prstClr val="black"/>
              </a:solidFill>
              <a:latin typeface="Questrial"/>
            </a:endParaRPr>
          </a:p>
        </p:txBody>
      </p:sp>
      <p:sp>
        <p:nvSpPr>
          <p:cNvPr id="12" name="Freeform 11"/>
          <p:cNvSpPr>
            <a:spLocks noChangeAspect="1" noEditPoints="1"/>
          </p:cNvSpPr>
          <p:nvPr/>
        </p:nvSpPr>
        <p:spPr bwMode="auto">
          <a:xfrm>
            <a:off x="1060751" y="2523547"/>
            <a:ext cx="360339" cy="359945"/>
          </a:xfrm>
          <a:custGeom>
            <a:avLst/>
            <a:gdLst>
              <a:gd name="T0" fmla="*/ 480 w 800"/>
              <a:gd name="T1" fmla="*/ 240 h 800"/>
              <a:gd name="T2" fmla="*/ 426 w 800"/>
              <a:gd name="T3" fmla="*/ 494 h 800"/>
              <a:gd name="T4" fmla="*/ 399 w 800"/>
              <a:gd name="T5" fmla="*/ 494 h 800"/>
              <a:gd name="T6" fmla="*/ 412 w 800"/>
              <a:gd name="T7" fmla="*/ 214 h 800"/>
              <a:gd name="T8" fmla="*/ 506 w 800"/>
              <a:gd name="T9" fmla="*/ 228 h 800"/>
              <a:gd name="T10" fmla="*/ 492 w 800"/>
              <a:gd name="T11" fmla="*/ 428 h 800"/>
              <a:gd name="T12" fmla="*/ 604 w 800"/>
              <a:gd name="T13" fmla="*/ 529 h 800"/>
              <a:gd name="T14" fmla="*/ 632 w 800"/>
              <a:gd name="T15" fmla="*/ 576 h 800"/>
              <a:gd name="T16" fmla="*/ 652 w 800"/>
              <a:gd name="T17" fmla="*/ 576 h 800"/>
              <a:gd name="T18" fmla="*/ 624 w 800"/>
              <a:gd name="T19" fmla="*/ 529 h 800"/>
              <a:gd name="T20" fmla="*/ 102 w 800"/>
              <a:gd name="T21" fmla="*/ 190 h 800"/>
              <a:gd name="T22" fmla="*/ 54 w 800"/>
              <a:gd name="T23" fmla="*/ 319 h 800"/>
              <a:gd name="T24" fmla="*/ 586 w 800"/>
              <a:gd name="T25" fmla="*/ 319 h 800"/>
              <a:gd name="T26" fmla="*/ 400 w 800"/>
              <a:gd name="T27" fmla="*/ 79 h 800"/>
              <a:gd name="T28" fmla="*/ 559 w 800"/>
              <a:gd name="T29" fmla="*/ 319 h 800"/>
              <a:gd name="T30" fmla="*/ 79 w 800"/>
              <a:gd name="T31" fmla="*/ 319 h 800"/>
              <a:gd name="T32" fmla="*/ 102 w 800"/>
              <a:gd name="T33" fmla="*/ 190 h 800"/>
              <a:gd name="T34" fmla="*/ 294 w 800"/>
              <a:gd name="T35" fmla="*/ 520 h 800"/>
              <a:gd name="T36" fmla="*/ 347 w 800"/>
              <a:gd name="T37" fmla="*/ 26 h 800"/>
              <a:gd name="T38" fmla="*/ 361 w 800"/>
              <a:gd name="T39" fmla="*/ 534 h 800"/>
              <a:gd name="T40" fmla="*/ 375 w 800"/>
              <a:gd name="T41" fmla="*/ 14 h 800"/>
              <a:gd name="T42" fmla="*/ 281 w 800"/>
              <a:gd name="T43" fmla="*/ 0 h 800"/>
              <a:gd name="T44" fmla="*/ 267 w 800"/>
              <a:gd name="T45" fmla="*/ 520 h 800"/>
              <a:gd name="T46" fmla="*/ 226 w 800"/>
              <a:gd name="T47" fmla="*/ 106 h 800"/>
              <a:gd name="T48" fmla="*/ 132 w 800"/>
              <a:gd name="T49" fmla="*/ 120 h 800"/>
              <a:gd name="T50" fmla="*/ 146 w 800"/>
              <a:gd name="T51" fmla="*/ 428 h 800"/>
              <a:gd name="T52" fmla="*/ 160 w 800"/>
              <a:gd name="T53" fmla="*/ 134 h 800"/>
              <a:gd name="T54" fmla="*/ 214 w 800"/>
              <a:gd name="T55" fmla="*/ 494 h 800"/>
              <a:gd name="T56" fmla="*/ 241 w 800"/>
              <a:gd name="T57" fmla="*/ 494 h 800"/>
              <a:gd name="T58" fmla="*/ 226 w 800"/>
              <a:gd name="T59" fmla="*/ 106 h 800"/>
              <a:gd name="T60" fmla="*/ 686 w 800"/>
              <a:gd name="T61" fmla="*/ 592 h 800"/>
              <a:gd name="T62" fmla="*/ 676 w 800"/>
              <a:gd name="T63" fmla="*/ 589 h 800"/>
              <a:gd name="T64" fmla="*/ 629 w 800"/>
              <a:gd name="T65" fmla="*/ 630 h 800"/>
              <a:gd name="T66" fmla="*/ 648 w 800"/>
              <a:gd name="T67" fmla="*/ 649 h 800"/>
              <a:gd name="T68" fmla="*/ 760 w 800"/>
              <a:gd name="T69" fmla="*/ 704 h 800"/>
              <a:gd name="T70" fmla="*/ 760 w 800"/>
              <a:gd name="T71" fmla="*/ 761 h 800"/>
              <a:gd name="T72" fmla="*/ 546 w 800"/>
              <a:gd name="T73" fmla="*/ 604 h 800"/>
              <a:gd name="T74" fmla="*/ 528 w 800"/>
              <a:gd name="T75" fmla="*/ 622 h 800"/>
              <a:gd name="T76" fmla="*/ 732 w 800"/>
              <a:gd name="T77" fmla="*/ 800 h 800"/>
              <a:gd name="T78" fmla="*/ 800 w 800"/>
              <a:gd name="T79" fmla="*/ 732 h 800"/>
              <a:gd name="T80" fmla="*/ 640 w 800"/>
              <a:gd name="T81" fmla="*/ 320 h 800"/>
              <a:gd name="T82" fmla="*/ 401 w 800"/>
              <a:gd name="T83" fmla="*/ 24 h 800"/>
              <a:gd name="T84" fmla="*/ 614 w 800"/>
              <a:gd name="T85" fmla="*/ 320 h 800"/>
              <a:gd name="T86" fmla="*/ 26 w 800"/>
              <a:gd name="T87" fmla="*/ 320 h 800"/>
              <a:gd name="T88" fmla="*/ 239 w 800"/>
              <a:gd name="T89" fmla="*/ 24 h 800"/>
              <a:gd name="T90" fmla="*/ 0 w 800"/>
              <a:gd name="T91" fmla="*/ 320 h 800"/>
              <a:gd name="T92" fmla="*/ 640 w 800"/>
              <a:gd name="T93" fmla="*/ 320 h 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800" h="800">
                <a:moveTo>
                  <a:pt x="480" y="414"/>
                </a:moveTo>
                <a:lnTo>
                  <a:pt x="480" y="240"/>
                </a:lnTo>
                <a:lnTo>
                  <a:pt x="426" y="240"/>
                </a:lnTo>
                <a:lnTo>
                  <a:pt x="426" y="494"/>
                </a:lnTo>
                <a:cubicBezTo>
                  <a:pt x="426" y="501"/>
                  <a:pt x="420" y="508"/>
                  <a:pt x="412" y="508"/>
                </a:cubicBezTo>
                <a:cubicBezTo>
                  <a:pt x="405" y="508"/>
                  <a:pt x="399" y="501"/>
                  <a:pt x="399" y="494"/>
                </a:cubicBezTo>
                <a:lnTo>
                  <a:pt x="399" y="228"/>
                </a:lnTo>
                <a:cubicBezTo>
                  <a:pt x="399" y="220"/>
                  <a:pt x="405" y="214"/>
                  <a:pt x="412" y="214"/>
                </a:cubicBezTo>
                <a:lnTo>
                  <a:pt x="492" y="214"/>
                </a:lnTo>
                <a:cubicBezTo>
                  <a:pt x="500" y="214"/>
                  <a:pt x="506" y="220"/>
                  <a:pt x="506" y="228"/>
                </a:cubicBezTo>
                <a:lnTo>
                  <a:pt x="506" y="414"/>
                </a:lnTo>
                <a:cubicBezTo>
                  <a:pt x="506" y="421"/>
                  <a:pt x="500" y="428"/>
                  <a:pt x="492" y="428"/>
                </a:cubicBezTo>
                <a:cubicBezTo>
                  <a:pt x="486" y="426"/>
                  <a:pt x="480" y="421"/>
                  <a:pt x="480" y="414"/>
                </a:cubicBezTo>
                <a:close/>
                <a:moveTo>
                  <a:pt x="604" y="529"/>
                </a:moveTo>
                <a:cubicBezTo>
                  <a:pt x="599" y="534"/>
                  <a:pt x="599" y="543"/>
                  <a:pt x="604" y="547"/>
                </a:cubicBezTo>
                <a:lnTo>
                  <a:pt x="632" y="576"/>
                </a:lnTo>
                <a:cubicBezTo>
                  <a:pt x="635" y="579"/>
                  <a:pt x="639" y="580"/>
                  <a:pt x="642" y="580"/>
                </a:cubicBezTo>
                <a:cubicBezTo>
                  <a:pt x="646" y="580"/>
                  <a:pt x="649" y="579"/>
                  <a:pt x="652" y="576"/>
                </a:cubicBezTo>
                <a:cubicBezTo>
                  <a:pt x="657" y="571"/>
                  <a:pt x="657" y="562"/>
                  <a:pt x="652" y="558"/>
                </a:cubicBezTo>
                <a:lnTo>
                  <a:pt x="624" y="529"/>
                </a:lnTo>
                <a:cubicBezTo>
                  <a:pt x="617" y="522"/>
                  <a:pt x="609" y="522"/>
                  <a:pt x="604" y="529"/>
                </a:cubicBezTo>
                <a:close/>
                <a:moveTo>
                  <a:pt x="102" y="190"/>
                </a:moveTo>
                <a:cubicBezTo>
                  <a:pt x="96" y="186"/>
                  <a:pt x="87" y="189"/>
                  <a:pt x="85" y="195"/>
                </a:cubicBezTo>
                <a:cubicBezTo>
                  <a:pt x="65" y="232"/>
                  <a:pt x="54" y="276"/>
                  <a:pt x="54" y="319"/>
                </a:cubicBezTo>
                <a:cubicBezTo>
                  <a:pt x="54" y="466"/>
                  <a:pt x="174" y="585"/>
                  <a:pt x="320" y="585"/>
                </a:cubicBezTo>
                <a:cubicBezTo>
                  <a:pt x="467" y="585"/>
                  <a:pt x="586" y="465"/>
                  <a:pt x="586" y="319"/>
                </a:cubicBezTo>
                <a:cubicBezTo>
                  <a:pt x="586" y="209"/>
                  <a:pt x="520" y="111"/>
                  <a:pt x="417" y="71"/>
                </a:cubicBezTo>
                <a:cubicBezTo>
                  <a:pt x="411" y="69"/>
                  <a:pt x="402" y="72"/>
                  <a:pt x="400" y="79"/>
                </a:cubicBezTo>
                <a:cubicBezTo>
                  <a:pt x="397" y="85"/>
                  <a:pt x="401" y="94"/>
                  <a:pt x="407" y="96"/>
                </a:cubicBezTo>
                <a:cubicBezTo>
                  <a:pt x="500" y="132"/>
                  <a:pt x="559" y="220"/>
                  <a:pt x="559" y="319"/>
                </a:cubicBezTo>
                <a:cubicBezTo>
                  <a:pt x="559" y="451"/>
                  <a:pt x="451" y="559"/>
                  <a:pt x="319" y="559"/>
                </a:cubicBezTo>
                <a:cubicBezTo>
                  <a:pt x="186" y="559"/>
                  <a:pt x="79" y="451"/>
                  <a:pt x="79" y="319"/>
                </a:cubicBezTo>
                <a:cubicBezTo>
                  <a:pt x="79" y="280"/>
                  <a:pt x="89" y="241"/>
                  <a:pt x="106" y="207"/>
                </a:cubicBezTo>
                <a:cubicBezTo>
                  <a:pt x="111" y="201"/>
                  <a:pt x="109" y="194"/>
                  <a:pt x="102" y="190"/>
                </a:cubicBezTo>
                <a:close/>
                <a:moveTo>
                  <a:pt x="280" y="534"/>
                </a:moveTo>
                <a:cubicBezTo>
                  <a:pt x="287" y="534"/>
                  <a:pt x="294" y="527"/>
                  <a:pt x="294" y="520"/>
                </a:cubicBezTo>
                <a:lnTo>
                  <a:pt x="294" y="26"/>
                </a:lnTo>
                <a:lnTo>
                  <a:pt x="347" y="26"/>
                </a:lnTo>
                <a:lnTo>
                  <a:pt x="347" y="520"/>
                </a:lnTo>
                <a:cubicBezTo>
                  <a:pt x="347" y="527"/>
                  <a:pt x="354" y="534"/>
                  <a:pt x="361" y="534"/>
                </a:cubicBezTo>
                <a:cubicBezTo>
                  <a:pt x="369" y="534"/>
                  <a:pt x="375" y="527"/>
                  <a:pt x="375" y="520"/>
                </a:cubicBezTo>
                <a:lnTo>
                  <a:pt x="375" y="14"/>
                </a:lnTo>
                <a:cubicBezTo>
                  <a:pt x="375" y="6"/>
                  <a:pt x="369" y="0"/>
                  <a:pt x="361" y="0"/>
                </a:cubicBezTo>
                <a:lnTo>
                  <a:pt x="281" y="0"/>
                </a:lnTo>
                <a:cubicBezTo>
                  <a:pt x="274" y="0"/>
                  <a:pt x="267" y="6"/>
                  <a:pt x="267" y="14"/>
                </a:cubicBezTo>
                <a:lnTo>
                  <a:pt x="267" y="520"/>
                </a:lnTo>
                <a:cubicBezTo>
                  <a:pt x="266" y="527"/>
                  <a:pt x="272" y="534"/>
                  <a:pt x="280" y="534"/>
                </a:cubicBezTo>
                <a:close/>
                <a:moveTo>
                  <a:pt x="226" y="106"/>
                </a:moveTo>
                <a:lnTo>
                  <a:pt x="146" y="106"/>
                </a:lnTo>
                <a:cubicBezTo>
                  <a:pt x="139" y="106"/>
                  <a:pt x="132" y="112"/>
                  <a:pt x="132" y="120"/>
                </a:cubicBezTo>
                <a:lnTo>
                  <a:pt x="132" y="414"/>
                </a:lnTo>
                <a:cubicBezTo>
                  <a:pt x="132" y="421"/>
                  <a:pt x="139" y="428"/>
                  <a:pt x="146" y="428"/>
                </a:cubicBezTo>
                <a:cubicBezTo>
                  <a:pt x="154" y="428"/>
                  <a:pt x="160" y="421"/>
                  <a:pt x="160" y="414"/>
                </a:cubicBezTo>
                <a:lnTo>
                  <a:pt x="160" y="134"/>
                </a:lnTo>
                <a:lnTo>
                  <a:pt x="214" y="134"/>
                </a:lnTo>
                <a:lnTo>
                  <a:pt x="214" y="494"/>
                </a:lnTo>
                <a:cubicBezTo>
                  <a:pt x="214" y="501"/>
                  <a:pt x="220" y="508"/>
                  <a:pt x="227" y="508"/>
                </a:cubicBezTo>
                <a:cubicBezTo>
                  <a:pt x="235" y="508"/>
                  <a:pt x="241" y="501"/>
                  <a:pt x="241" y="494"/>
                </a:cubicBezTo>
                <a:lnTo>
                  <a:pt x="241" y="120"/>
                </a:lnTo>
                <a:cubicBezTo>
                  <a:pt x="240" y="112"/>
                  <a:pt x="234" y="106"/>
                  <a:pt x="226" y="106"/>
                </a:cubicBezTo>
                <a:close/>
                <a:moveTo>
                  <a:pt x="780" y="686"/>
                </a:moveTo>
                <a:lnTo>
                  <a:pt x="686" y="592"/>
                </a:lnTo>
                <a:cubicBezTo>
                  <a:pt x="684" y="590"/>
                  <a:pt x="680" y="589"/>
                  <a:pt x="676" y="589"/>
                </a:cubicBezTo>
                <a:lnTo>
                  <a:pt x="676" y="589"/>
                </a:lnTo>
                <a:cubicBezTo>
                  <a:pt x="673" y="589"/>
                  <a:pt x="669" y="590"/>
                  <a:pt x="666" y="592"/>
                </a:cubicBezTo>
                <a:lnTo>
                  <a:pt x="629" y="630"/>
                </a:lnTo>
                <a:cubicBezTo>
                  <a:pt x="624" y="635"/>
                  <a:pt x="624" y="644"/>
                  <a:pt x="629" y="649"/>
                </a:cubicBezTo>
                <a:cubicBezTo>
                  <a:pt x="634" y="654"/>
                  <a:pt x="643" y="654"/>
                  <a:pt x="648" y="649"/>
                </a:cubicBezTo>
                <a:lnTo>
                  <a:pt x="676" y="620"/>
                </a:lnTo>
                <a:lnTo>
                  <a:pt x="760" y="704"/>
                </a:lnTo>
                <a:cubicBezTo>
                  <a:pt x="768" y="711"/>
                  <a:pt x="771" y="721"/>
                  <a:pt x="771" y="732"/>
                </a:cubicBezTo>
                <a:cubicBezTo>
                  <a:pt x="771" y="744"/>
                  <a:pt x="768" y="754"/>
                  <a:pt x="760" y="761"/>
                </a:cubicBezTo>
                <a:cubicBezTo>
                  <a:pt x="745" y="776"/>
                  <a:pt x="719" y="776"/>
                  <a:pt x="704" y="761"/>
                </a:cubicBezTo>
                <a:lnTo>
                  <a:pt x="546" y="604"/>
                </a:lnTo>
                <a:cubicBezTo>
                  <a:pt x="541" y="599"/>
                  <a:pt x="532" y="599"/>
                  <a:pt x="528" y="604"/>
                </a:cubicBezTo>
                <a:cubicBezTo>
                  <a:pt x="523" y="609"/>
                  <a:pt x="523" y="617"/>
                  <a:pt x="528" y="622"/>
                </a:cubicBezTo>
                <a:lnTo>
                  <a:pt x="685" y="780"/>
                </a:lnTo>
                <a:cubicBezTo>
                  <a:pt x="698" y="792"/>
                  <a:pt x="715" y="800"/>
                  <a:pt x="732" y="800"/>
                </a:cubicBezTo>
                <a:cubicBezTo>
                  <a:pt x="750" y="800"/>
                  <a:pt x="766" y="794"/>
                  <a:pt x="780" y="780"/>
                </a:cubicBezTo>
                <a:cubicBezTo>
                  <a:pt x="792" y="767"/>
                  <a:pt x="800" y="751"/>
                  <a:pt x="800" y="732"/>
                </a:cubicBezTo>
                <a:cubicBezTo>
                  <a:pt x="800" y="715"/>
                  <a:pt x="792" y="699"/>
                  <a:pt x="780" y="686"/>
                </a:cubicBezTo>
                <a:close/>
                <a:moveTo>
                  <a:pt x="640" y="320"/>
                </a:moveTo>
                <a:cubicBezTo>
                  <a:pt x="640" y="180"/>
                  <a:pt x="550" y="58"/>
                  <a:pt x="418" y="15"/>
                </a:cubicBezTo>
                <a:cubicBezTo>
                  <a:pt x="410" y="13"/>
                  <a:pt x="403" y="16"/>
                  <a:pt x="401" y="24"/>
                </a:cubicBezTo>
                <a:cubicBezTo>
                  <a:pt x="399" y="31"/>
                  <a:pt x="403" y="39"/>
                  <a:pt x="410" y="40"/>
                </a:cubicBezTo>
                <a:cubicBezTo>
                  <a:pt x="533" y="79"/>
                  <a:pt x="614" y="191"/>
                  <a:pt x="614" y="320"/>
                </a:cubicBezTo>
                <a:cubicBezTo>
                  <a:pt x="614" y="481"/>
                  <a:pt x="483" y="614"/>
                  <a:pt x="320" y="614"/>
                </a:cubicBezTo>
                <a:cubicBezTo>
                  <a:pt x="159" y="614"/>
                  <a:pt x="26" y="483"/>
                  <a:pt x="26" y="320"/>
                </a:cubicBezTo>
                <a:cubicBezTo>
                  <a:pt x="26" y="191"/>
                  <a:pt x="109" y="80"/>
                  <a:pt x="230" y="40"/>
                </a:cubicBezTo>
                <a:cubicBezTo>
                  <a:pt x="238" y="38"/>
                  <a:pt x="241" y="30"/>
                  <a:pt x="239" y="24"/>
                </a:cubicBezTo>
                <a:cubicBezTo>
                  <a:pt x="236" y="16"/>
                  <a:pt x="229" y="13"/>
                  <a:pt x="223" y="15"/>
                </a:cubicBezTo>
                <a:cubicBezTo>
                  <a:pt x="89" y="58"/>
                  <a:pt x="0" y="180"/>
                  <a:pt x="0" y="320"/>
                </a:cubicBezTo>
                <a:cubicBezTo>
                  <a:pt x="0" y="496"/>
                  <a:pt x="144" y="640"/>
                  <a:pt x="320" y="640"/>
                </a:cubicBezTo>
                <a:cubicBezTo>
                  <a:pt x="496" y="640"/>
                  <a:pt x="640" y="496"/>
                  <a:pt x="640" y="320"/>
                </a:cubicBezTo>
                <a:close/>
              </a:path>
            </a:pathLst>
          </a:custGeom>
          <a:solidFill>
            <a:schemeClr val="tx2">
              <a:lumMod val="50000"/>
            </a:schemeClr>
          </a:solidFill>
          <a:ln w="0">
            <a:noFill/>
            <a:prstDash val="solid"/>
            <a:round/>
          </a:ln>
        </p:spPr>
        <p:txBody>
          <a:bodyPr vert="horz" wrap="square" lIns="91424" tIns="45712" rIns="91424" bIns="45712" numCol="1" anchor="t" anchorCtr="0" compatLnSpc="1"/>
          <a:lstStyle/>
          <a:p>
            <a:pPr defTabSz="913765"/>
            <a:endParaRPr lang="en-US" sz="1200">
              <a:solidFill>
                <a:prstClr val="black"/>
              </a:solidFill>
              <a:latin typeface="Questrial"/>
            </a:endParaRP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FFF5711E-E4AA-1851-823B-99F1C3A36E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00170" y="1237386"/>
            <a:ext cx="7078268" cy="4012009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 advTm="3000"/>
    </mc:Choice>
    <mc:Fallback xmlns="">
      <p:transition advTm="3000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D28DB9-347E-DC7B-697E-016D11312B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4B0E1FF2-CC9A-F086-4EDA-98897983B6AB}"/>
              </a:ext>
            </a:extLst>
          </p:cNvPr>
          <p:cNvSpPr txBox="1"/>
          <p:nvPr/>
        </p:nvSpPr>
        <p:spPr>
          <a:xfrm>
            <a:off x="1714365" y="4160027"/>
            <a:ext cx="3399367" cy="848953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长文本生成重复率较高，内容新颖性不足；</a:t>
            </a:r>
            <a:b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客服响应效率偏低，在实时服务中存在瓶颈</a:t>
            </a:r>
            <a:endParaRPr lang="en-US" sz="14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B8216B09-A45F-6C45-0C7C-D0D04F04A580}"/>
              </a:ext>
            </a:extLst>
          </p:cNvPr>
          <p:cNvSpPr txBox="1"/>
          <p:nvPr/>
        </p:nvSpPr>
        <p:spPr>
          <a:xfrm>
            <a:off x="2183362" y="1057241"/>
            <a:ext cx="4053651" cy="330149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3600" b="1" dirty="0">
                <a:solidFill>
                  <a:srgbClr val="404040"/>
                </a:solidFill>
                <a:latin typeface="Inter"/>
              </a:rPr>
              <a:t>通义千问</a:t>
            </a:r>
            <a:endParaRPr lang="en-US" sz="3600" b="1" dirty="0">
              <a:solidFill>
                <a:srgbClr val="404040"/>
              </a:solidFill>
              <a:latin typeface="Inter"/>
            </a:endParaRPr>
          </a:p>
        </p:txBody>
      </p:sp>
      <p:sp>
        <p:nvSpPr>
          <p:cNvPr id="5" name="Text Placeholder 13">
            <a:extLst>
              <a:ext uri="{FF2B5EF4-FFF2-40B4-BE49-F238E27FC236}">
                <a16:creationId xmlns:a16="http://schemas.microsoft.com/office/drawing/2014/main" id="{5E907B12-EA9F-B85C-9B02-0717E15D1B0B}"/>
              </a:ext>
            </a:extLst>
          </p:cNvPr>
          <p:cNvSpPr txBox="1"/>
          <p:nvPr/>
        </p:nvSpPr>
        <p:spPr>
          <a:xfrm>
            <a:off x="1714365" y="3859423"/>
            <a:ext cx="3399367" cy="507923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500" dirty="0"/>
              <a:t>缺点</a:t>
            </a:r>
            <a:endParaRPr lang="en-US" sz="1500" dirty="0"/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5A583920-3018-D27F-64AA-9D0028207453}"/>
              </a:ext>
            </a:extLst>
          </p:cNvPr>
          <p:cNvSpPr txBox="1"/>
          <p:nvPr/>
        </p:nvSpPr>
        <p:spPr>
          <a:xfrm>
            <a:off x="1717533" y="2623856"/>
            <a:ext cx="3399367" cy="848953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图文、视频、代码多模态表现均衡，适合综合应用；</a:t>
            </a:r>
            <a:b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与阿里云深度集成，便于在大数据平台部署</a:t>
            </a:r>
            <a:endParaRPr lang="en-US" sz="14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8CD325DD-E73E-A953-B818-835C8AE499C2}"/>
              </a:ext>
            </a:extLst>
          </p:cNvPr>
          <p:cNvSpPr txBox="1"/>
          <p:nvPr/>
        </p:nvSpPr>
        <p:spPr>
          <a:xfrm>
            <a:off x="1717533" y="2375568"/>
            <a:ext cx="3399367" cy="507923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500" dirty="0"/>
              <a:t>优点</a:t>
            </a:r>
            <a:endParaRPr lang="en-US" sz="1500" dirty="0"/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183A0DB2-1667-F551-595D-2D06779C626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60081" y="4007403"/>
            <a:ext cx="360671" cy="359945"/>
          </a:xfrm>
          <a:custGeom>
            <a:avLst/>
            <a:gdLst>
              <a:gd name="T0" fmla="*/ 159 w 803"/>
              <a:gd name="T1" fmla="*/ 85 h 802"/>
              <a:gd name="T2" fmla="*/ 64 w 803"/>
              <a:gd name="T3" fmla="*/ 2 h 802"/>
              <a:gd name="T4" fmla="*/ 55 w 803"/>
              <a:gd name="T5" fmla="*/ 55 h 802"/>
              <a:gd name="T6" fmla="*/ 3 w 803"/>
              <a:gd name="T7" fmla="*/ 63 h 802"/>
              <a:gd name="T8" fmla="*/ 85 w 803"/>
              <a:gd name="T9" fmla="*/ 158 h 802"/>
              <a:gd name="T10" fmla="*/ 143 w 803"/>
              <a:gd name="T11" fmla="*/ 162 h 802"/>
              <a:gd name="T12" fmla="*/ 403 w 803"/>
              <a:gd name="T13" fmla="*/ 416 h 802"/>
              <a:gd name="T14" fmla="*/ 413 w 803"/>
              <a:gd name="T15" fmla="*/ 393 h 802"/>
              <a:gd name="T16" fmla="*/ 403 w 803"/>
              <a:gd name="T17" fmla="*/ 348 h 802"/>
              <a:gd name="T18" fmla="*/ 403 w 803"/>
              <a:gd name="T19" fmla="*/ 456 h 802"/>
              <a:gd name="T20" fmla="*/ 335 w 803"/>
              <a:gd name="T21" fmla="*/ 388 h 802"/>
              <a:gd name="T22" fmla="*/ 402 w 803"/>
              <a:gd name="T23" fmla="*/ 482 h 802"/>
              <a:gd name="T24" fmla="*/ 402 w 803"/>
              <a:gd name="T25" fmla="*/ 322 h 802"/>
              <a:gd name="T26" fmla="*/ 299 w 803"/>
              <a:gd name="T27" fmla="*/ 280 h 802"/>
              <a:gd name="T28" fmla="*/ 563 w 803"/>
              <a:gd name="T29" fmla="*/ 402 h 802"/>
              <a:gd name="T30" fmla="*/ 243 w 803"/>
              <a:gd name="T31" fmla="*/ 402 h 802"/>
              <a:gd name="T32" fmla="*/ 253 w 803"/>
              <a:gd name="T33" fmla="*/ 315 h 802"/>
              <a:gd name="T34" fmla="*/ 217 w 803"/>
              <a:gd name="T35" fmla="*/ 402 h 802"/>
              <a:gd name="T36" fmla="*/ 589 w 803"/>
              <a:gd name="T37" fmla="*/ 402 h 802"/>
              <a:gd name="T38" fmla="*/ 280 w 803"/>
              <a:gd name="T39" fmla="*/ 262 h 802"/>
              <a:gd name="T40" fmla="*/ 403 w 803"/>
              <a:gd name="T41" fmla="*/ 137 h 802"/>
              <a:gd name="T42" fmla="*/ 403 w 803"/>
              <a:gd name="T43" fmla="*/ 670 h 802"/>
              <a:gd name="T44" fmla="*/ 180 w 803"/>
              <a:gd name="T45" fmla="*/ 257 h 802"/>
              <a:gd name="T46" fmla="*/ 158 w 803"/>
              <a:gd name="T47" fmla="*/ 242 h 802"/>
              <a:gd name="T48" fmla="*/ 403 w 803"/>
              <a:gd name="T49" fmla="*/ 697 h 802"/>
              <a:gd name="T50" fmla="*/ 403 w 803"/>
              <a:gd name="T51" fmla="*/ 110 h 802"/>
              <a:gd name="T52" fmla="*/ 163 w 803"/>
              <a:gd name="T53" fmla="*/ 145 h 802"/>
              <a:gd name="T54" fmla="*/ 403 w 803"/>
              <a:gd name="T55" fmla="*/ 30 h 802"/>
              <a:gd name="T56" fmla="*/ 403 w 803"/>
              <a:gd name="T57" fmla="*/ 777 h 802"/>
              <a:gd name="T58" fmla="*/ 87 w 803"/>
              <a:gd name="T59" fmla="*/ 205 h 802"/>
              <a:gd name="T60" fmla="*/ 64 w 803"/>
              <a:gd name="T61" fmla="*/ 190 h 802"/>
              <a:gd name="T62" fmla="*/ 403 w 803"/>
              <a:gd name="T63" fmla="*/ 802 h 802"/>
              <a:gd name="T64" fmla="*/ 403 w 803"/>
              <a:gd name="T65" fmla="*/ 1 h 802"/>
              <a:gd name="T66" fmla="*/ 102 w 803"/>
              <a:gd name="T67" fmla="*/ 135 h 802"/>
              <a:gd name="T68" fmla="*/ 69 w 803"/>
              <a:gd name="T69" fmla="*/ 81 h 802"/>
              <a:gd name="T70" fmla="*/ 83 w 803"/>
              <a:gd name="T71" fmla="*/ 46 h 802"/>
              <a:gd name="T72" fmla="*/ 137 w 803"/>
              <a:gd name="T73" fmla="*/ 135 h 8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03" h="802">
                <a:moveTo>
                  <a:pt x="403" y="1"/>
                </a:moveTo>
                <a:cubicBezTo>
                  <a:pt x="314" y="1"/>
                  <a:pt x="228" y="31"/>
                  <a:pt x="159" y="85"/>
                </a:cubicBezTo>
                <a:lnTo>
                  <a:pt x="79" y="5"/>
                </a:lnTo>
                <a:cubicBezTo>
                  <a:pt x="75" y="1"/>
                  <a:pt x="69" y="0"/>
                  <a:pt x="64" y="2"/>
                </a:cubicBezTo>
                <a:cubicBezTo>
                  <a:pt x="59" y="5"/>
                  <a:pt x="55" y="10"/>
                  <a:pt x="55" y="15"/>
                </a:cubicBezTo>
                <a:lnTo>
                  <a:pt x="55" y="55"/>
                </a:lnTo>
                <a:lnTo>
                  <a:pt x="15" y="55"/>
                </a:lnTo>
                <a:cubicBezTo>
                  <a:pt x="10" y="55"/>
                  <a:pt x="5" y="59"/>
                  <a:pt x="3" y="63"/>
                </a:cubicBezTo>
                <a:cubicBezTo>
                  <a:pt x="0" y="68"/>
                  <a:pt x="2" y="75"/>
                  <a:pt x="5" y="78"/>
                </a:cubicBezTo>
                <a:lnTo>
                  <a:pt x="85" y="158"/>
                </a:lnTo>
                <a:cubicBezTo>
                  <a:pt x="88" y="161"/>
                  <a:pt x="92" y="162"/>
                  <a:pt x="95" y="162"/>
                </a:cubicBezTo>
                <a:lnTo>
                  <a:pt x="143" y="162"/>
                </a:lnTo>
                <a:lnTo>
                  <a:pt x="393" y="412"/>
                </a:lnTo>
                <a:cubicBezTo>
                  <a:pt x="395" y="415"/>
                  <a:pt x="399" y="416"/>
                  <a:pt x="403" y="416"/>
                </a:cubicBezTo>
                <a:cubicBezTo>
                  <a:pt x="407" y="416"/>
                  <a:pt x="409" y="415"/>
                  <a:pt x="413" y="412"/>
                </a:cubicBezTo>
                <a:cubicBezTo>
                  <a:pt x="418" y="407"/>
                  <a:pt x="418" y="398"/>
                  <a:pt x="413" y="393"/>
                </a:cubicBezTo>
                <a:lnTo>
                  <a:pt x="375" y="356"/>
                </a:lnTo>
                <a:cubicBezTo>
                  <a:pt x="383" y="351"/>
                  <a:pt x="392" y="348"/>
                  <a:pt x="403" y="348"/>
                </a:cubicBezTo>
                <a:cubicBezTo>
                  <a:pt x="433" y="348"/>
                  <a:pt x="457" y="372"/>
                  <a:pt x="457" y="402"/>
                </a:cubicBezTo>
                <a:cubicBezTo>
                  <a:pt x="457" y="432"/>
                  <a:pt x="433" y="456"/>
                  <a:pt x="403" y="456"/>
                </a:cubicBezTo>
                <a:cubicBezTo>
                  <a:pt x="373" y="456"/>
                  <a:pt x="349" y="432"/>
                  <a:pt x="349" y="402"/>
                </a:cubicBezTo>
                <a:cubicBezTo>
                  <a:pt x="349" y="395"/>
                  <a:pt x="343" y="388"/>
                  <a:pt x="335" y="388"/>
                </a:cubicBezTo>
                <a:cubicBezTo>
                  <a:pt x="328" y="388"/>
                  <a:pt x="322" y="395"/>
                  <a:pt x="322" y="402"/>
                </a:cubicBezTo>
                <a:cubicBezTo>
                  <a:pt x="322" y="446"/>
                  <a:pt x="358" y="482"/>
                  <a:pt x="402" y="482"/>
                </a:cubicBezTo>
                <a:cubicBezTo>
                  <a:pt x="445" y="482"/>
                  <a:pt x="482" y="446"/>
                  <a:pt x="482" y="402"/>
                </a:cubicBezTo>
                <a:cubicBezTo>
                  <a:pt x="482" y="358"/>
                  <a:pt x="445" y="322"/>
                  <a:pt x="402" y="322"/>
                </a:cubicBezTo>
                <a:cubicBezTo>
                  <a:pt x="384" y="322"/>
                  <a:pt x="368" y="327"/>
                  <a:pt x="355" y="336"/>
                </a:cubicBezTo>
                <a:lnTo>
                  <a:pt x="299" y="280"/>
                </a:lnTo>
                <a:cubicBezTo>
                  <a:pt x="328" y="255"/>
                  <a:pt x="364" y="242"/>
                  <a:pt x="403" y="242"/>
                </a:cubicBezTo>
                <a:cubicBezTo>
                  <a:pt x="492" y="242"/>
                  <a:pt x="563" y="313"/>
                  <a:pt x="563" y="402"/>
                </a:cubicBezTo>
                <a:cubicBezTo>
                  <a:pt x="563" y="491"/>
                  <a:pt x="492" y="562"/>
                  <a:pt x="403" y="562"/>
                </a:cubicBezTo>
                <a:cubicBezTo>
                  <a:pt x="314" y="562"/>
                  <a:pt x="243" y="491"/>
                  <a:pt x="243" y="402"/>
                </a:cubicBezTo>
                <a:cubicBezTo>
                  <a:pt x="243" y="379"/>
                  <a:pt x="248" y="355"/>
                  <a:pt x="259" y="332"/>
                </a:cubicBezTo>
                <a:cubicBezTo>
                  <a:pt x="263" y="326"/>
                  <a:pt x="259" y="317"/>
                  <a:pt x="253" y="315"/>
                </a:cubicBezTo>
                <a:cubicBezTo>
                  <a:pt x="247" y="311"/>
                  <a:pt x="238" y="315"/>
                  <a:pt x="235" y="321"/>
                </a:cubicBezTo>
                <a:cubicBezTo>
                  <a:pt x="223" y="347"/>
                  <a:pt x="217" y="375"/>
                  <a:pt x="217" y="402"/>
                </a:cubicBezTo>
                <a:cubicBezTo>
                  <a:pt x="217" y="505"/>
                  <a:pt x="300" y="588"/>
                  <a:pt x="403" y="588"/>
                </a:cubicBezTo>
                <a:cubicBezTo>
                  <a:pt x="505" y="588"/>
                  <a:pt x="589" y="505"/>
                  <a:pt x="589" y="402"/>
                </a:cubicBezTo>
                <a:cubicBezTo>
                  <a:pt x="589" y="300"/>
                  <a:pt x="505" y="216"/>
                  <a:pt x="403" y="216"/>
                </a:cubicBezTo>
                <a:cubicBezTo>
                  <a:pt x="358" y="216"/>
                  <a:pt x="314" y="232"/>
                  <a:pt x="280" y="262"/>
                </a:cubicBezTo>
                <a:lnTo>
                  <a:pt x="224" y="206"/>
                </a:lnTo>
                <a:cubicBezTo>
                  <a:pt x="273" y="161"/>
                  <a:pt x="337" y="137"/>
                  <a:pt x="403" y="137"/>
                </a:cubicBezTo>
                <a:cubicBezTo>
                  <a:pt x="550" y="137"/>
                  <a:pt x="669" y="257"/>
                  <a:pt x="669" y="404"/>
                </a:cubicBezTo>
                <a:cubicBezTo>
                  <a:pt x="669" y="550"/>
                  <a:pt x="549" y="670"/>
                  <a:pt x="403" y="670"/>
                </a:cubicBezTo>
                <a:cubicBezTo>
                  <a:pt x="255" y="670"/>
                  <a:pt x="137" y="550"/>
                  <a:pt x="137" y="404"/>
                </a:cubicBezTo>
                <a:cubicBezTo>
                  <a:pt x="137" y="351"/>
                  <a:pt x="152" y="301"/>
                  <a:pt x="180" y="257"/>
                </a:cubicBezTo>
                <a:cubicBezTo>
                  <a:pt x="184" y="251"/>
                  <a:pt x="183" y="242"/>
                  <a:pt x="177" y="239"/>
                </a:cubicBezTo>
                <a:cubicBezTo>
                  <a:pt x="170" y="235"/>
                  <a:pt x="162" y="236"/>
                  <a:pt x="158" y="242"/>
                </a:cubicBezTo>
                <a:cubicBezTo>
                  <a:pt x="127" y="290"/>
                  <a:pt x="109" y="346"/>
                  <a:pt x="109" y="404"/>
                </a:cubicBezTo>
                <a:cubicBezTo>
                  <a:pt x="109" y="565"/>
                  <a:pt x="240" y="697"/>
                  <a:pt x="403" y="697"/>
                </a:cubicBezTo>
                <a:cubicBezTo>
                  <a:pt x="565" y="697"/>
                  <a:pt x="697" y="566"/>
                  <a:pt x="697" y="404"/>
                </a:cubicBezTo>
                <a:cubicBezTo>
                  <a:pt x="697" y="241"/>
                  <a:pt x="565" y="110"/>
                  <a:pt x="403" y="110"/>
                </a:cubicBezTo>
                <a:cubicBezTo>
                  <a:pt x="329" y="110"/>
                  <a:pt x="259" y="137"/>
                  <a:pt x="205" y="187"/>
                </a:cubicBezTo>
                <a:lnTo>
                  <a:pt x="163" y="145"/>
                </a:lnTo>
                <a:lnTo>
                  <a:pt x="163" y="117"/>
                </a:lnTo>
                <a:cubicBezTo>
                  <a:pt x="230" y="61"/>
                  <a:pt x="315" y="30"/>
                  <a:pt x="403" y="30"/>
                </a:cubicBezTo>
                <a:cubicBezTo>
                  <a:pt x="609" y="30"/>
                  <a:pt x="777" y="197"/>
                  <a:pt x="777" y="404"/>
                </a:cubicBezTo>
                <a:cubicBezTo>
                  <a:pt x="777" y="610"/>
                  <a:pt x="609" y="777"/>
                  <a:pt x="403" y="777"/>
                </a:cubicBezTo>
                <a:cubicBezTo>
                  <a:pt x="197" y="777"/>
                  <a:pt x="29" y="610"/>
                  <a:pt x="29" y="404"/>
                </a:cubicBezTo>
                <a:cubicBezTo>
                  <a:pt x="29" y="334"/>
                  <a:pt x="49" y="265"/>
                  <a:pt x="87" y="205"/>
                </a:cubicBezTo>
                <a:cubicBezTo>
                  <a:pt x="90" y="199"/>
                  <a:pt x="89" y="190"/>
                  <a:pt x="83" y="186"/>
                </a:cubicBezTo>
                <a:cubicBezTo>
                  <a:pt x="77" y="182"/>
                  <a:pt x="68" y="184"/>
                  <a:pt x="64" y="190"/>
                </a:cubicBezTo>
                <a:cubicBezTo>
                  <a:pt x="24" y="254"/>
                  <a:pt x="3" y="327"/>
                  <a:pt x="3" y="402"/>
                </a:cubicBezTo>
                <a:cubicBezTo>
                  <a:pt x="3" y="622"/>
                  <a:pt x="183" y="802"/>
                  <a:pt x="403" y="802"/>
                </a:cubicBezTo>
                <a:cubicBezTo>
                  <a:pt x="623" y="802"/>
                  <a:pt x="803" y="622"/>
                  <a:pt x="803" y="402"/>
                </a:cubicBezTo>
                <a:cubicBezTo>
                  <a:pt x="803" y="181"/>
                  <a:pt x="623" y="1"/>
                  <a:pt x="403" y="1"/>
                </a:cubicBezTo>
                <a:close/>
                <a:moveTo>
                  <a:pt x="137" y="135"/>
                </a:moveTo>
                <a:lnTo>
                  <a:pt x="102" y="135"/>
                </a:lnTo>
                <a:lnTo>
                  <a:pt x="48" y="81"/>
                </a:lnTo>
                <a:lnTo>
                  <a:pt x="69" y="81"/>
                </a:lnTo>
                <a:cubicBezTo>
                  <a:pt x="77" y="81"/>
                  <a:pt x="83" y="75"/>
                  <a:pt x="83" y="67"/>
                </a:cubicBezTo>
                <a:lnTo>
                  <a:pt x="83" y="46"/>
                </a:lnTo>
                <a:lnTo>
                  <a:pt x="137" y="100"/>
                </a:lnTo>
                <a:lnTo>
                  <a:pt x="137" y="135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 w="0">
            <a:noFill/>
            <a:prstDash val="solid"/>
            <a:round/>
          </a:ln>
        </p:spPr>
        <p:txBody>
          <a:bodyPr vert="horz" wrap="square" lIns="91424" tIns="45712" rIns="91424" bIns="45712" numCol="1" anchor="t" anchorCtr="0" compatLnSpc="1"/>
          <a:lstStyle/>
          <a:p>
            <a:pPr defTabSz="913765"/>
            <a:endParaRPr lang="en-US" sz="1200">
              <a:solidFill>
                <a:prstClr val="black"/>
              </a:solidFill>
              <a:latin typeface="Questrial"/>
            </a:endParaRP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E8B4D912-7569-E12B-4CC5-E345928695D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60751" y="2523547"/>
            <a:ext cx="360339" cy="359945"/>
          </a:xfrm>
          <a:custGeom>
            <a:avLst/>
            <a:gdLst>
              <a:gd name="T0" fmla="*/ 480 w 800"/>
              <a:gd name="T1" fmla="*/ 240 h 800"/>
              <a:gd name="T2" fmla="*/ 426 w 800"/>
              <a:gd name="T3" fmla="*/ 494 h 800"/>
              <a:gd name="T4" fmla="*/ 399 w 800"/>
              <a:gd name="T5" fmla="*/ 494 h 800"/>
              <a:gd name="T6" fmla="*/ 412 w 800"/>
              <a:gd name="T7" fmla="*/ 214 h 800"/>
              <a:gd name="T8" fmla="*/ 506 w 800"/>
              <a:gd name="T9" fmla="*/ 228 h 800"/>
              <a:gd name="T10" fmla="*/ 492 w 800"/>
              <a:gd name="T11" fmla="*/ 428 h 800"/>
              <a:gd name="T12" fmla="*/ 604 w 800"/>
              <a:gd name="T13" fmla="*/ 529 h 800"/>
              <a:gd name="T14" fmla="*/ 632 w 800"/>
              <a:gd name="T15" fmla="*/ 576 h 800"/>
              <a:gd name="T16" fmla="*/ 652 w 800"/>
              <a:gd name="T17" fmla="*/ 576 h 800"/>
              <a:gd name="T18" fmla="*/ 624 w 800"/>
              <a:gd name="T19" fmla="*/ 529 h 800"/>
              <a:gd name="T20" fmla="*/ 102 w 800"/>
              <a:gd name="T21" fmla="*/ 190 h 800"/>
              <a:gd name="T22" fmla="*/ 54 w 800"/>
              <a:gd name="T23" fmla="*/ 319 h 800"/>
              <a:gd name="T24" fmla="*/ 586 w 800"/>
              <a:gd name="T25" fmla="*/ 319 h 800"/>
              <a:gd name="T26" fmla="*/ 400 w 800"/>
              <a:gd name="T27" fmla="*/ 79 h 800"/>
              <a:gd name="T28" fmla="*/ 559 w 800"/>
              <a:gd name="T29" fmla="*/ 319 h 800"/>
              <a:gd name="T30" fmla="*/ 79 w 800"/>
              <a:gd name="T31" fmla="*/ 319 h 800"/>
              <a:gd name="T32" fmla="*/ 102 w 800"/>
              <a:gd name="T33" fmla="*/ 190 h 800"/>
              <a:gd name="T34" fmla="*/ 294 w 800"/>
              <a:gd name="T35" fmla="*/ 520 h 800"/>
              <a:gd name="T36" fmla="*/ 347 w 800"/>
              <a:gd name="T37" fmla="*/ 26 h 800"/>
              <a:gd name="T38" fmla="*/ 361 w 800"/>
              <a:gd name="T39" fmla="*/ 534 h 800"/>
              <a:gd name="T40" fmla="*/ 375 w 800"/>
              <a:gd name="T41" fmla="*/ 14 h 800"/>
              <a:gd name="T42" fmla="*/ 281 w 800"/>
              <a:gd name="T43" fmla="*/ 0 h 800"/>
              <a:gd name="T44" fmla="*/ 267 w 800"/>
              <a:gd name="T45" fmla="*/ 520 h 800"/>
              <a:gd name="T46" fmla="*/ 226 w 800"/>
              <a:gd name="T47" fmla="*/ 106 h 800"/>
              <a:gd name="T48" fmla="*/ 132 w 800"/>
              <a:gd name="T49" fmla="*/ 120 h 800"/>
              <a:gd name="T50" fmla="*/ 146 w 800"/>
              <a:gd name="T51" fmla="*/ 428 h 800"/>
              <a:gd name="T52" fmla="*/ 160 w 800"/>
              <a:gd name="T53" fmla="*/ 134 h 800"/>
              <a:gd name="T54" fmla="*/ 214 w 800"/>
              <a:gd name="T55" fmla="*/ 494 h 800"/>
              <a:gd name="T56" fmla="*/ 241 w 800"/>
              <a:gd name="T57" fmla="*/ 494 h 800"/>
              <a:gd name="T58" fmla="*/ 226 w 800"/>
              <a:gd name="T59" fmla="*/ 106 h 800"/>
              <a:gd name="T60" fmla="*/ 686 w 800"/>
              <a:gd name="T61" fmla="*/ 592 h 800"/>
              <a:gd name="T62" fmla="*/ 676 w 800"/>
              <a:gd name="T63" fmla="*/ 589 h 800"/>
              <a:gd name="T64" fmla="*/ 629 w 800"/>
              <a:gd name="T65" fmla="*/ 630 h 800"/>
              <a:gd name="T66" fmla="*/ 648 w 800"/>
              <a:gd name="T67" fmla="*/ 649 h 800"/>
              <a:gd name="T68" fmla="*/ 760 w 800"/>
              <a:gd name="T69" fmla="*/ 704 h 800"/>
              <a:gd name="T70" fmla="*/ 760 w 800"/>
              <a:gd name="T71" fmla="*/ 761 h 800"/>
              <a:gd name="T72" fmla="*/ 546 w 800"/>
              <a:gd name="T73" fmla="*/ 604 h 800"/>
              <a:gd name="T74" fmla="*/ 528 w 800"/>
              <a:gd name="T75" fmla="*/ 622 h 800"/>
              <a:gd name="T76" fmla="*/ 732 w 800"/>
              <a:gd name="T77" fmla="*/ 800 h 800"/>
              <a:gd name="T78" fmla="*/ 800 w 800"/>
              <a:gd name="T79" fmla="*/ 732 h 800"/>
              <a:gd name="T80" fmla="*/ 640 w 800"/>
              <a:gd name="T81" fmla="*/ 320 h 800"/>
              <a:gd name="T82" fmla="*/ 401 w 800"/>
              <a:gd name="T83" fmla="*/ 24 h 800"/>
              <a:gd name="T84" fmla="*/ 614 w 800"/>
              <a:gd name="T85" fmla="*/ 320 h 800"/>
              <a:gd name="T86" fmla="*/ 26 w 800"/>
              <a:gd name="T87" fmla="*/ 320 h 800"/>
              <a:gd name="T88" fmla="*/ 239 w 800"/>
              <a:gd name="T89" fmla="*/ 24 h 800"/>
              <a:gd name="T90" fmla="*/ 0 w 800"/>
              <a:gd name="T91" fmla="*/ 320 h 800"/>
              <a:gd name="T92" fmla="*/ 640 w 800"/>
              <a:gd name="T93" fmla="*/ 320 h 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800" h="800">
                <a:moveTo>
                  <a:pt x="480" y="414"/>
                </a:moveTo>
                <a:lnTo>
                  <a:pt x="480" y="240"/>
                </a:lnTo>
                <a:lnTo>
                  <a:pt x="426" y="240"/>
                </a:lnTo>
                <a:lnTo>
                  <a:pt x="426" y="494"/>
                </a:lnTo>
                <a:cubicBezTo>
                  <a:pt x="426" y="501"/>
                  <a:pt x="420" y="508"/>
                  <a:pt x="412" y="508"/>
                </a:cubicBezTo>
                <a:cubicBezTo>
                  <a:pt x="405" y="508"/>
                  <a:pt x="399" y="501"/>
                  <a:pt x="399" y="494"/>
                </a:cubicBezTo>
                <a:lnTo>
                  <a:pt x="399" y="228"/>
                </a:lnTo>
                <a:cubicBezTo>
                  <a:pt x="399" y="220"/>
                  <a:pt x="405" y="214"/>
                  <a:pt x="412" y="214"/>
                </a:cubicBezTo>
                <a:lnTo>
                  <a:pt x="492" y="214"/>
                </a:lnTo>
                <a:cubicBezTo>
                  <a:pt x="500" y="214"/>
                  <a:pt x="506" y="220"/>
                  <a:pt x="506" y="228"/>
                </a:cubicBezTo>
                <a:lnTo>
                  <a:pt x="506" y="414"/>
                </a:lnTo>
                <a:cubicBezTo>
                  <a:pt x="506" y="421"/>
                  <a:pt x="500" y="428"/>
                  <a:pt x="492" y="428"/>
                </a:cubicBezTo>
                <a:cubicBezTo>
                  <a:pt x="486" y="426"/>
                  <a:pt x="480" y="421"/>
                  <a:pt x="480" y="414"/>
                </a:cubicBezTo>
                <a:close/>
                <a:moveTo>
                  <a:pt x="604" y="529"/>
                </a:moveTo>
                <a:cubicBezTo>
                  <a:pt x="599" y="534"/>
                  <a:pt x="599" y="543"/>
                  <a:pt x="604" y="547"/>
                </a:cubicBezTo>
                <a:lnTo>
                  <a:pt x="632" y="576"/>
                </a:lnTo>
                <a:cubicBezTo>
                  <a:pt x="635" y="579"/>
                  <a:pt x="639" y="580"/>
                  <a:pt x="642" y="580"/>
                </a:cubicBezTo>
                <a:cubicBezTo>
                  <a:pt x="646" y="580"/>
                  <a:pt x="649" y="579"/>
                  <a:pt x="652" y="576"/>
                </a:cubicBezTo>
                <a:cubicBezTo>
                  <a:pt x="657" y="571"/>
                  <a:pt x="657" y="562"/>
                  <a:pt x="652" y="558"/>
                </a:cubicBezTo>
                <a:lnTo>
                  <a:pt x="624" y="529"/>
                </a:lnTo>
                <a:cubicBezTo>
                  <a:pt x="617" y="522"/>
                  <a:pt x="609" y="522"/>
                  <a:pt x="604" y="529"/>
                </a:cubicBezTo>
                <a:close/>
                <a:moveTo>
                  <a:pt x="102" y="190"/>
                </a:moveTo>
                <a:cubicBezTo>
                  <a:pt x="96" y="186"/>
                  <a:pt x="87" y="189"/>
                  <a:pt x="85" y="195"/>
                </a:cubicBezTo>
                <a:cubicBezTo>
                  <a:pt x="65" y="232"/>
                  <a:pt x="54" y="276"/>
                  <a:pt x="54" y="319"/>
                </a:cubicBezTo>
                <a:cubicBezTo>
                  <a:pt x="54" y="466"/>
                  <a:pt x="174" y="585"/>
                  <a:pt x="320" y="585"/>
                </a:cubicBezTo>
                <a:cubicBezTo>
                  <a:pt x="467" y="585"/>
                  <a:pt x="586" y="465"/>
                  <a:pt x="586" y="319"/>
                </a:cubicBezTo>
                <a:cubicBezTo>
                  <a:pt x="586" y="209"/>
                  <a:pt x="520" y="111"/>
                  <a:pt x="417" y="71"/>
                </a:cubicBezTo>
                <a:cubicBezTo>
                  <a:pt x="411" y="69"/>
                  <a:pt x="402" y="72"/>
                  <a:pt x="400" y="79"/>
                </a:cubicBezTo>
                <a:cubicBezTo>
                  <a:pt x="397" y="85"/>
                  <a:pt x="401" y="94"/>
                  <a:pt x="407" y="96"/>
                </a:cubicBezTo>
                <a:cubicBezTo>
                  <a:pt x="500" y="132"/>
                  <a:pt x="559" y="220"/>
                  <a:pt x="559" y="319"/>
                </a:cubicBezTo>
                <a:cubicBezTo>
                  <a:pt x="559" y="451"/>
                  <a:pt x="451" y="559"/>
                  <a:pt x="319" y="559"/>
                </a:cubicBezTo>
                <a:cubicBezTo>
                  <a:pt x="186" y="559"/>
                  <a:pt x="79" y="451"/>
                  <a:pt x="79" y="319"/>
                </a:cubicBezTo>
                <a:cubicBezTo>
                  <a:pt x="79" y="280"/>
                  <a:pt x="89" y="241"/>
                  <a:pt x="106" y="207"/>
                </a:cubicBezTo>
                <a:cubicBezTo>
                  <a:pt x="111" y="201"/>
                  <a:pt x="109" y="194"/>
                  <a:pt x="102" y="190"/>
                </a:cubicBezTo>
                <a:close/>
                <a:moveTo>
                  <a:pt x="280" y="534"/>
                </a:moveTo>
                <a:cubicBezTo>
                  <a:pt x="287" y="534"/>
                  <a:pt x="294" y="527"/>
                  <a:pt x="294" y="520"/>
                </a:cubicBezTo>
                <a:lnTo>
                  <a:pt x="294" y="26"/>
                </a:lnTo>
                <a:lnTo>
                  <a:pt x="347" y="26"/>
                </a:lnTo>
                <a:lnTo>
                  <a:pt x="347" y="520"/>
                </a:lnTo>
                <a:cubicBezTo>
                  <a:pt x="347" y="527"/>
                  <a:pt x="354" y="534"/>
                  <a:pt x="361" y="534"/>
                </a:cubicBezTo>
                <a:cubicBezTo>
                  <a:pt x="369" y="534"/>
                  <a:pt x="375" y="527"/>
                  <a:pt x="375" y="520"/>
                </a:cubicBezTo>
                <a:lnTo>
                  <a:pt x="375" y="14"/>
                </a:lnTo>
                <a:cubicBezTo>
                  <a:pt x="375" y="6"/>
                  <a:pt x="369" y="0"/>
                  <a:pt x="361" y="0"/>
                </a:cubicBezTo>
                <a:lnTo>
                  <a:pt x="281" y="0"/>
                </a:lnTo>
                <a:cubicBezTo>
                  <a:pt x="274" y="0"/>
                  <a:pt x="267" y="6"/>
                  <a:pt x="267" y="14"/>
                </a:cubicBezTo>
                <a:lnTo>
                  <a:pt x="267" y="520"/>
                </a:lnTo>
                <a:cubicBezTo>
                  <a:pt x="266" y="527"/>
                  <a:pt x="272" y="534"/>
                  <a:pt x="280" y="534"/>
                </a:cubicBezTo>
                <a:close/>
                <a:moveTo>
                  <a:pt x="226" y="106"/>
                </a:moveTo>
                <a:lnTo>
                  <a:pt x="146" y="106"/>
                </a:lnTo>
                <a:cubicBezTo>
                  <a:pt x="139" y="106"/>
                  <a:pt x="132" y="112"/>
                  <a:pt x="132" y="120"/>
                </a:cubicBezTo>
                <a:lnTo>
                  <a:pt x="132" y="414"/>
                </a:lnTo>
                <a:cubicBezTo>
                  <a:pt x="132" y="421"/>
                  <a:pt x="139" y="428"/>
                  <a:pt x="146" y="428"/>
                </a:cubicBezTo>
                <a:cubicBezTo>
                  <a:pt x="154" y="428"/>
                  <a:pt x="160" y="421"/>
                  <a:pt x="160" y="414"/>
                </a:cubicBezTo>
                <a:lnTo>
                  <a:pt x="160" y="134"/>
                </a:lnTo>
                <a:lnTo>
                  <a:pt x="214" y="134"/>
                </a:lnTo>
                <a:lnTo>
                  <a:pt x="214" y="494"/>
                </a:lnTo>
                <a:cubicBezTo>
                  <a:pt x="214" y="501"/>
                  <a:pt x="220" y="508"/>
                  <a:pt x="227" y="508"/>
                </a:cubicBezTo>
                <a:cubicBezTo>
                  <a:pt x="235" y="508"/>
                  <a:pt x="241" y="501"/>
                  <a:pt x="241" y="494"/>
                </a:cubicBezTo>
                <a:lnTo>
                  <a:pt x="241" y="120"/>
                </a:lnTo>
                <a:cubicBezTo>
                  <a:pt x="240" y="112"/>
                  <a:pt x="234" y="106"/>
                  <a:pt x="226" y="106"/>
                </a:cubicBezTo>
                <a:close/>
                <a:moveTo>
                  <a:pt x="780" y="686"/>
                </a:moveTo>
                <a:lnTo>
                  <a:pt x="686" y="592"/>
                </a:lnTo>
                <a:cubicBezTo>
                  <a:pt x="684" y="590"/>
                  <a:pt x="680" y="589"/>
                  <a:pt x="676" y="589"/>
                </a:cubicBezTo>
                <a:lnTo>
                  <a:pt x="676" y="589"/>
                </a:lnTo>
                <a:cubicBezTo>
                  <a:pt x="673" y="589"/>
                  <a:pt x="669" y="590"/>
                  <a:pt x="666" y="592"/>
                </a:cubicBezTo>
                <a:lnTo>
                  <a:pt x="629" y="630"/>
                </a:lnTo>
                <a:cubicBezTo>
                  <a:pt x="624" y="635"/>
                  <a:pt x="624" y="644"/>
                  <a:pt x="629" y="649"/>
                </a:cubicBezTo>
                <a:cubicBezTo>
                  <a:pt x="634" y="654"/>
                  <a:pt x="643" y="654"/>
                  <a:pt x="648" y="649"/>
                </a:cubicBezTo>
                <a:lnTo>
                  <a:pt x="676" y="620"/>
                </a:lnTo>
                <a:lnTo>
                  <a:pt x="760" y="704"/>
                </a:lnTo>
                <a:cubicBezTo>
                  <a:pt x="768" y="711"/>
                  <a:pt x="771" y="721"/>
                  <a:pt x="771" y="732"/>
                </a:cubicBezTo>
                <a:cubicBezTo>
                  <a:pt x="771" y="744"/>
                  <a:pt x="768" y="754"/>
                  <a:pt x="760" y="761"/>
                </a:cubicBezTo>
                <a:cubicBezTo>
                  <a:pt x="745" y="776"/>
                  <a:pt x="719" y="776"/>
                  <a:pt x="704" y="761"/>
                </a:cubicBezTo>
                <a:lnTo>
                  <a:pt x="546" y="604"/>
                </a:lnTo>
                <a:cubicBezTo>
                  <a:pt x="541" y="599"/>
                  <a:pt x="532" y="599"/>
                  <a:pt x="528" y="604"/>
                </a:cubicBezTo>
                <a:cubicBezTo>
                  <a:pt x="523" y="609"/>
                  <a:pt x="523" y="617"/>
                  <a:pt x="528" y="622"/>
                </a:cubicBezTo>
                <a:lnTo>
                  <a:pt x="685" y="780"/>
                </a:lnTo>
                <a:cubicBezTo>
                  <a:pt x="698" y="792"/>
                  <a:pt x="715" y="800"/>
                  <a:pt x="732" y="800"/>
                </a:cubicBezTo>
                <a:cubicBezTo>
                  <a:pt x="750" y="800"/>
                  <a:pt x="766" y="794"/>
                  <a:pt x="780" y="780"/>
                </a:cubicBezTo>
                <a:cubicBezTo>
                  <a:pt x="792" y="767"/>
                  <a:pt x="800" y="751"/>
                  <a:pt x="800" y="732"/>
                </a:cubicBezTo>
                <a:cubicBezTo>
                  <a:pt x="800" y="715"/>
                  <a:pt x="792" y="699"/>
                  <a:pt x="780" y="686"/>
                </a:cubicBezTo>
                <a:close/>
                <a:moveTo>
                  <a:pt x="640" y="320"/>
                </a:moveTo>
                <a:cubicBezTo>
                  <a:pt x="640" y="180"/>
                  <a:pt x="550" y="58"/>
                  <a:pt x="418" y="15"/>
                </a:cubicBezTo>
                <a:cubicBezTo>
                  <a:pt x="410" y="13"/>
                  <a:pt x="403" y="16"/>
                  <a:pt x="401" y="24"/>
                </a:cubicBezTo>
                <a:cubicBezTo>
                  <a:pt x="399" y="31"/>
                  <a:pt x="403" y="39"/>
                  <a:pt x="410" y="40"/>
                </a:cubicBezTo>
                <a:cubicBezTo>
                  <a:pt x="533" y="79"/>
                  <a:pt x="614" y="191"/>
                  <a:pt x="614" y="320"/>
                </a:cubicBezTo>
                <a:cubicBezTo>
                  <a:pt x="614" y="481"/>
                  <a:pt x="483" y="614"/>
                  <a:pt x="320" y="614"/>
                </a:cubicBezTo>
                <a:cubicBezTo>
                  <a:pt x="159" y="614"/>
                  <a:pt x="26" y="483"/>
                  <a:pt x="26" y="320"/>
                </a:cubicBezTo>
                <a:cubicBezTo>
                  <a:pt x="26" y="191"/>
                  <a:pt x="109" y="80"/>
                  <a:pt x="230" y="40"/>
                </a:cubicBezTo>
                <a:cubicBezTo>
                  <a:pt x="238" y="38"/>
                  <a:pt x="241" y="30"/>
                  <a:pt x="239" y="24"/>
                </a:cubicBezTo>
                <a:cubicBezTo>
                  <a:pt x="236" y="16"/>
                  <a:pt x="229" y="13"/>
                  <a:pt x="223" y="15"/>
                </a:cubicBezTo>
                <a:cubicBezTo>
                  <a:pt x="89" y="58"/>
                  <a:pt x="0" y="180"/>
                  <a:pt x="0" y="320"/>
                </a:cubicBezTo>
                <a:cubicBezTo>
                  <a:pt x="0" y="496"/>
                  <a:pt x="144" y="640"/>
                  <a:pt x="320" y="640"/>
                </a:cubicBezTo>
                <a:cubicBezTo>
                  <a:pt x="496" y="640"/>
                  <a:pt x="640" y="496"/>
                  <a:pt x="640" y="320"/>
                </a:cubicBezTo>
                <a:close/>
              </a:path>
            </a:pathLst>
          </a:custGeom>
          <a:solidFill>
            <a:schemeClr val="tx2">
              <a:lumMod val="50000"/>
            </a:schemeClr>
          </a:solidFill>
          <a:ln w="0">
            <a:noFill/>
            <a:prstDash val="solid"/>
            <a:round/>
          </a:ln>
        </p:spPr>
        <p:txBody>
          <a:bodyPr vert="horz" wrap="square" lIns="91424" tIns="45712" rIns="91424" bIns="45712" numCol="1" anchor="t" anchorCtr="0" compatLnSpc="1"/>
          <a:lstStyle/>
          <a:p>
            <a:pPr defTabSz="913765"/>
            <a:endParaRPr lang="en-US" sz="1200">
              <a:solidFill>
                <a:prstClr val="black"/>
              </a:solidFill>
              <a:latin typeface="Questrial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1D0A4687-E72F-27F8-67F0-6D591DC1BB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31335" y="1608930"/>
            <a:ext cx="7086175" cy="3727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0148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3000"/>
    </mc:Choice>
    <mc:Fallback xmlns="">
      <p:transition advTm="3000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1780A1-7821-A35E-F370-EF2EC7679F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DE7CF217-0DFC-816C-8A11-E5B5AFA67F47}"/>
              </a:ext>
            </a:extLst>
          </p:cNvPr>
          <p:cNvSpPr txBox="1"/>
          <p:nvPr/>
        </p:nvSpPr>
        <p:spPr>
          <a:xfrm>
            <a:off x="1700803" y="4160027"/>
            <a:ext cx="3399367" cy="848953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英文生成质量低于</a:t>
            </a: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GPT-3.5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，跨语言表现尚需提升；</a:t>
            </a:r>
            <a:b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API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响应延迟波动大，影响实时应用的稳定性</a:t>
            </a:r>
            <a:r>
              <a:rPr lang="zh-CN" altLang="en-US" sz="800" dirty="0"/>
              <a:t>。</a:t>
            </a:r>
            <a:endParaRPr lang="en-US" sz="15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C8126586-4C08-F19C-1F4D-140A0BD57AC4}"/>
              </a:ext>
            </a:extLst>
          </p:cNvPr>
          <p:cNvSpPr txBox="1"/>
          <p:nvPr/>
        </p:nvSpPr>
        <p:spPr>
          <a:xfrm>
            <a:off x="2097223" y="1139626"/>
            <a:ext cx="4053651" cy="330149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3600" b="1" dirty="0">
                <a:solidFill>
                  <a:srgbClr val="404040"/>
                </a:solidFill>
                <a:latin typeface="Inter"/>
              </a:rPr>
              <a:t>智谱清言</a:t>
            </a:r>
            <a:endParaRPr lang="en-US" sz="3600" b="1" dirty="0">
              <a:solidFill>
                <a:srgbClr val="404040"/>
              </a:solidFill>
              <a:latin typeface="Inter"/>
            </a:endParaRPr>
          </a:p>
        </p:txBody>
      </p:sp>
      <p:sp>
        <p:nvSpPr>
          <p:cNvPr id="5" name="Text Placeholder 13">
            <a:extLst>
              <a:ext uri="{FF2B5EF4-FFF2-40B4-BE49-F238E27FC236}">
                <a16:creationId xmlns:a16="http://schemas.microsoft.com/office/drawing/2014/main" id="{E2B3606F-4B41-0B7C-D8FB-D13F1054E119}"/>
              </a:ext>
            </a:extLst>
          </p:cNvPr>
          <p:cNvSpPr txBox="1"/>
          <p:nvPr/>
        </p:nvSpPr>
        <p:spPr>
          <a:xfrm>
            <a:off x="1714365" y="3859423"/>
            <a:ext cx="3399367" cy="507923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500" dirty="0"/>
              <a:t>缺点</a:t>
            </a:r>
            <a:endParaRPr lang="en-US" sz="1500" dirty="0"/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B030E505-7916-0BC1-F478-F5B1D87587A3}"/>
              </a:ext>
            </a:extLst>
          </p:cNvPr>
          <p:cNvSpPr txBox="1"/>
          <p:nvPr/>
        </p:nvSpPr>
        <p:spPr>
          <a:xfrm>
            <a:off x="1717533" y="2623856"/>
            <a:ext cx="3399367" cy="848953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在医疗、法律等垂直领域处于</a:t>
            </a: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SOTA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水平，针对专业应用优化；</a:t>
            </a:r>
            <a:b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视频生成支持</a:t>
            </a: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6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秒动态运镜，适合特定行业应用。</a:t>
            </a:r>
            <a:endParaRPr lang="en-US" sz="14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05442150-4312-49B4-5A6D-56E88DD9D305}"/>
              </a:ext>
            </a:extLst>
          </p:cNvPr>
          <p:cNvSpPr txBox="1"/>
          <p:nvPr/>
        </p:nvSpPr>
        <p:spPr>
          <a:xfrm>
            <a:off x="1717533" y="2375568"/>
            <a:ext cx="3399367" cy="507923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500" dirty="0"/>
              <a:t>优点</a:t>
            </a:r>
            <a:endParaRPr lang="en-US" sz="1500" dirty="0"/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A832FFA8-E0A5-D813-FEC0-A268F43F20E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60081" y="4007403"/>
            <a:ext cx="360671" cy="359945"/>
          </a:xfrm>
          <a:custGeom>
            <a:avLst/>
            <a:gdLst>
              <a:gd name="T0" fmla="*/ 159 w 803"/>
              <a:gd name="T1" fmla="*/ 85 h 802"/>
              <a:gd name="T2" fmla="*/ 64 w 803"/>
              <a:gd name="T3" fmla="*/ 2 h 802"/>
              <a:gd name="T4" fmla="*/ 55 w 803"/>
              <a:gd name="T5" fmla="*/ 55 h 802"/>
              <a:gd name="T6" fmla="*/ 3 w 803"/>
              <a:gd name="T7" fmla="*/ 63 h 802"/>
              <a:gd name="T8" fmla="*/ 85 w 803"/>
              <a:gd name="T9" fmla="*/ 158 h 802"/>
              <a:gd name="T10" fmla="*/ 143 w 803"/>
              <a:gd name="T11" fmla="*/ 162 h 802"/>
              <a:gd name="T12" fmla="*/ 403 w 803"/>
              <a:gd name="T13" fmla="*/ 416 h 802"/>
              <a:gd name="T14" fmla="*/ 413 w 803"/>
              <a:gd name="T15" fmla="*/ 393 h 802"/>
              <a:gd name="T16" fmla="*/ 403 w 803"/>
              <a:gd name="T17" fmla="*/ 348 h 802"/>
              <a:gd name="T18" fmla="*/ 403 w 803"/>
              <a:gd name="T19" fmla="*/ 456 h 802"/>
              <a:gd name="T20" fmla="*/ 335 w 803"/>
              <a:gd name="T21" fmla="*/ 388 h 802"/>
              <a:gd name="T22" fmla="*/ 402 w 803"/>
              <a:gd name="T23" fmla="*/ 482 h 802"/>
              <a:gd name="T24" fmla="*/ 402 w 803"/>
              <a:gd name="T25" fmla="*/ 322 h 802"/>
              <a:gd name="T26" fmla="*/ 299 w 803"/>
              <a:gd name="T27" fmla="*/ 280 h 802"/>
              <a:gd name="T28" fmla="*/ 563 w 803"/>
              <a:gd name="T29" fmla="*/ 402 h 802"/>
              <a:gd name="T30" fmla="*/ 243 w 803"/>
              <a:gd name="T31" fmla="*/ 402 h 802"/>
              <a:gd name="T32" fmla="*/ 253 w 803"/>
              <a:gd name="T33" fmla="*/ 315 h 802"/>
              <a:gd name="T34" fmla="*/ 217 w 803"/>
              <a:gd name="T35" fmla="*/ 402 h 802"/>
              <a:gd name="T36" fmla="*/ 589 w 803"/>
              <a:gd name="T37" fmla="*/ 402 h 802"/>
              <a:gd name="T38" fmla="*/ 280 w 803"/>
              <a:gd name="T39" fmla="*/ 262 h 802"/>
              <a:gd name="T40" fmla="*/ 403 w 803"/>
              <a:gd name="T41" fmla="*/ 137 h 802"/>
              <a:gd name="T42" fmla="*/ 403 w 803"/>
              <a:gd name="T43" fmla="*/ 670 h 802"/>
              <a:gd name="T44" fmla="*/ 180 w 803"/>
              <a:gd name="T45" fmla="*/ 257 h 802"/>
              <a:gd name="T46" fmla="*/ 158 w 803"/>
              <a:gd name="T47" fmla="*/ 242 h 802"/>
              <a:gd name="T48" fmla="*/ 403 w 803"/>
              <a:gd name="T49" fmla="*/ 697 h 802"/>
              <a:gd name="T50" fmla="*/ 403 w 803"/>
              <a:gd name="T51" fmla="*/ 110 h 802"/>
              <a:gd name="T52" fmla="*/ 163 w 803"/>
              <a:gd name="T53" fmla="*/ 145 h 802"/>
              <a:gd name="T54" fmla="*/ 403 w 803"/>
              <a:gd name="T55" fmla="*/ 30 h 802"/>
              <a:gd name="T56" fmla="*/ 403 w 803"/>
              <a:gd name="T57" fmla="*/ 777 h 802"/>
              <a:gd name="T58" fmla="*/ 87 w 803"/>
              <a:gd name="T59" fmla="*/ 205 h 802"/>
              <a:gd name="T60" fmla="*/ 64 w 803"/>
              <a:gd name="T61" fmla="*/ 190 h 802"/>
              <a:gd name="T62" fmla="*/ 403 w 803"/>
              <a:gd name="T63" fmla="*/ 802 h 802"/>
              <a:gd name="T64" fmla="*/ 403 w 803"/>
              <a:gd name="T65" fmla="*/ 1 h 802"/>
              <a:gd name="T66" fmla="*/ 102 w 803"/>
              <a:gd name="T67" fmla="*/ 135 h 802"/>
              <a:gd name="T68" fmla="*/ 69 w 803"/>
              <a:gd name="T69" fmla="*/ 81 h 802"/>
              <a:gd name="T70" fmla="*/ 83 w 803"/>
              <a:gd name="T71" fmla="*/ 46 h 802"/>
              <a:gd name="T72" fmla="*/ 137 w 803"/>
              <a:gd name="T73" fmla="*/ 135 h 8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03" h="802">
                <a:moveTo>
                  <a:pt x="403" y="1"/>
                </a:moveTo>
                <a:cubicBezTo>
                  <a:pt x="314" y="1"/>
                  <a:pt x="228" y="31"/>
                  <a:pt x="159" y="85"/>
                </a:cubicBezTo>
                <a:lnTo>
                  <a:pt x="79" y="5"/>
                </a:lnTo>
                <a:cubicBezTo>
                  <a:pt x="75" y="1"/>
                  <a:pt x="69" y="0"/>
                  <a:pt x="64" y="2"/>
                </a:cubicBezTo>
                <a:cubicBezTo>
                  <a:pt x="59" y="5"/>
                  <a:pt x="55" y="10"/>
                  <a:pt x="55" y="15"/>
                </a:cubicBezTo>
                <a:lnTo>
                  <a:pt x="55" y="55"/>
                </a:lnTo>
                <a:lnTo>
                  <a:pt x="15" y="55"/>
                </a:lnTo>
                <a:cubicBezTo>
                  <a:pt x="10" y="55"/>
                  <a:pt x="5" y="59"/>
                  <a:pt x="3" y="63"/>
                </a:cubicBezTo>
                <a:cubicBezTo>
                  <a:pt x="0" y="68"/>
                  <a:pt x="2" y="75"/>
                  <a:pt x="5" y="78"/>
                </a:cubicBezTo>
                <a:lnTo>
                  <a:pt x="85" y="158"/>
                </a:lnTo>
                <a:cubicBezTo>
                  <a:pt x="88" y="161"/>
                  <a:pt x="92" y="162"/>
                  <a:pt x="95" y="162"/>
                </a:cubicBezTo>
                <a:lnTo>
                  <a:pt x="143" y="162"/>
                </a:lnTo>
                <a:lnTo>
                  <a:pt x="393" y="412"/>
                </a:lnTo>
                <a:cubicBezTo>
                  <a:pt x="395" y="415"/>
                  <a:pt x="399" y="416"/>
                  <a:pt x="403" y="416"/>
                </a:cubicBezTo>
                <a:cubicBezTo>
                  <a:pt x="407" y="416"/>
                  <a:pt x="409" y="415"/>
                  <a:pt x="413" y="412"/>
                </a:cubicBezTo>
                <a:cubicBezTo>
                  <a:pt x="418" y="407"/>
                  <a:pt x="418" y="398"/>
                  <a:pt x="413" y="393"/>
                </a:cubicBezTo>
                <a:lnTo>
                  <a:pt x="375" y="356"/>
                </a:lnTo>
                <a:cubicBezTo>
                  <a:pt x="383" y="351"/>
                  <a:pt x="392" y="348"/>
                  <a:pt x="403" y="348"/>
                </a:cubicBezTo>
                <a:cubicBezTo>
                  <a:pt x="433" y="348"/>
                  <a:pt x="457" y="372"/>
                  <a:pt x="457" y="402"/>
                </a:cubicBezTo>
                <a:cubicBezTo>
                  <a:pt x="457" y="432"/>
                  <a:pt x="433" y="456"/>
                  <a:pt x="403" y="456"/>
                </a:cubicBezTo>
                <a:cubicBezTo>
                  <a:pt x="373" y="456"/>
                  <a:pt x="349" y="432"/>
                  <a:pt x="349" y="402"/>
                </a:cubicBezTo>
                <a:cubicBezTo>
                  <a:pt x="349" y="395"/>
                  <a:pt x="343" y="388"/>
                  <a:pt x="335" y="388"/>
                </a:cubicBezTo>
                <a:cubicBezTo>
                  <a:pt x="328" y="388"/>
                  <a:pt x="322" y="395"/>
                  <a:pt x="322" y="402"/>
                </a:cubicBezTo>
                <a:cubicBezTo>
                  <a:pt x="322" y="446"/>
                  <a:pt x="358" y="482"/>
                  <a:pt x="402" y="482"/>
                </a:cubicBezTo>
                <a:cubicBezTo>
                  <a:pt x="445" y="482"/>
                  <a:pt x="482" y="446"/>
                  <a:pt x="482" y="402"/>
                </a:cubicBezTo>
                <a:cubicBezTo>
                  <a:pt x="482" y="358"/>
                  <a:pt x="445" y="322"/>
                  <a:pt x="402" y="322"/>
                </a:cubicBezTo>
                <a:cubicBezTo>
                  <a:pt x="384" y="322"/>
                  <a:pt x="368" y="327"/>
                  <a:pt x="355" y="336"/>
                </a:cubicBezTo>
                <a:lnTo>
                  <a:pt x="299" y="280"/>
                </a:lnTo>
                <a:cubicBezTo>
                  <a:pt x="328" y="255"/>
                  <a:pt x="364" y="242"/>
                  <a:pt x="403" y="242"/>
                </a:cubicBezTo>
                <a:cubicBezTo>
                  <a:pt x="492" y="242"/>
                  <a:pt x="563" y="313"/>
                  <a:pt x="563" y="402"/>
                </a:cubicBezTo>
                <a:cubicBezTo>
                  <a:pt x="563" y="491"/>
                  <a:pt x="492" y="562"/>
                  <a:pt x="403" y="562"/>
                </a:cubicBezTo>
                <a:cubicBezTo>
                  <a:pt x="314" y="562"/>
                  <a:pt x="243" y="491"/>
                  <a:pt x="243" y="402"/>
                </a:cubicBezTo>
                <a:cubicBezTo>
                  <a:pt x="243" y="379"/>
                  <a:pt x="248" y="355"/>
                  <a:pt x="259" y="332"/>
                </a:cubicBezTo>
                <a:cubicBezTo>
                  <a:pt x="263" y="326"/>
                  <a:pt x="259" y="317"/>
                  <a:pt x="253" y="315"/>
                </a:cubicBezTo>
                <a:cubicBezTo>
                  <a:pt x="247" y="311"/>
                  <a:pt x="238" y="315"/>
                  <a:pt x="235" y="321"/>
                </a:cubicBezTo>
                <a:cubicBezTo>
                  <a:pt x="223" y="347"/>
                  <a:pt x="217" y="375"/>
                  <a:pt x="217" y="402"/>
                </a:cubicBezTo>
                <a:cubicBezTo>
                  <a:pt x="217" y="505"/>
                  <a:pt x="300" y="588"/>
                  <a:pt x="403" y="588"/>
                </a:cubicBezTo>
                <a:cubicBezTo>
                  <a:pt x="505" y="588"/>
                  <a:pt x="589" y="505"/>
                  <a:pt x="589" y="402"/>
                </a:cubicBezTo>
                <a:cubicBezTo>
                  <a:pt x="589" y="300"/>
                  <a:pt x="505" y="216"/>
                  <a:pt x="403" y="216"/>
                </a:cubicBezTo>
                <a:cubicBezTo>
                  <a:pt x="358" y="216"/>
                  <a:pt x="314" y="232"/>
                  <a:pt x="280" y="262"/>
                </a:cubicBezTo>
                <a:lnTo>
                  <a:pt x="224" y="206"/>
                </a:lnTo>
                <a:cubicBezTo>
                  <a:pt x="273" y="161"/>
                  <a:pt x="337" y="137"/>
                  <a:pt x="403" y="137"/>
                </a:cubicBezTo>
                <a:cubicBezTo>
                  <a:pt x="550" y="137"/>
                  <a:pt x="669" y="257"/>
                  <a:pt x="669" y="404"/>
                </a:cubicBezTo>
                <a:cubicBezTo>
                  <a:pt x="669" y="550"/>
                  <a:pt x="549" y="670"/>
                  <a:pt x="403" y="670"/>
                </a:cubicBezTo>
                <a:cubicBezTo>
                  <a:pt x="255" y="670"/>
                  <a:pt x="137" y="550"/>
                  <a:pt x="137" y="404"/>
                </a:cubicBezTo>
                <a:cubicBezTo>
                  <a:pt x="137" y="351"/>
                  <a:pt x="152" y="301"/>
                  <a:pt x="180" y="257"/>
                </a:cubicBezTo>
                <a:cubicBezTo>
                  <a:pt x="184" y="251"/>
                  <a:pt x="183" y="242"/>
                  <a:pt x="177" y="239"/>
                </a:cubicBezTo>
                <a:cubicBezTo>
                  <a:pt x="170" y="235"/>
                  <a:pt x="162" y="236"/>
                  <a:pt x="158" y="242"/>
                </a:cubicBezTo>
                <a:cubicBezTo>
                  <a:pt x="127" y="290"/>
                  <a:pt x="109" y="346"/>
                  <a:pt x="109" y="404"/>
                </a:cubicBezTo>
                <a:cubicBezTo>
                  <a:pt x="109" y="565"/>
                  <a:pt x="240" y="697"/>
                  <a:pt x="403" y="697"/>
                </a:cubicBezTo>
                <a:cubicBezTo>
                  <a:pt x="565" y="697"/>
                  <a:pt x="697" y="566"/>
                  <a:pt x="697" y="404"/>
                </a:cubicBezTo>
                <a:cubicBezTo>
                  <a:pt x="697" y="241"/>
                  <a:pt x="565" y="110"/>
                  <a:pt x="403" y="110"/>
                </a:cubicBezTo>
                <a:cubicBezTo>
                  <a:pt x="329" y="110"/>
                  <a:pt x="259" y="137"/>
                  <a:pt x="205" y="187"/>
                </a:cubicBezTo>
                <a:lnTo>
                  <a:pt x="163" y="145"/>
                </a:lnTo>
                <a:lnTo>
                  <a:pt x="163" y="117"/>
                </a:lnTo>
                <a:cubicBezTo>
                  <a:pt x="230" y="61"/>
                  <a:pt x="315" y="30"/>
                  <a:pt x="403" y="30"/>
                </a:cubicBezTo>
                <a:cubicBezTo>
                  <a:pt x="609" y="30"/>
                  <a:pt x="777" y="197"/>
                  <a:pt x="777" y="404"/>
                </a:cubicBezTo>
                <a:cubicBezTo>
                  <a:pt x="777" y="610"/>
                  <a:pt x="609" y="777"/>
                  <a:pt x="403" y="777"/>
                </a:cubicBezTo>
                <a:cubicBezTo>
                  <a:pt x="197" y="777"/>
                  <a:pt x="29" y="610"/>
                  <a:pt x="29" y="404"/>
                </a:cubicBezTo>
                <a:cubicBezTo>
                  <a:pt x="29" y="334"/>
                  <a:pt x="49" y="265"/>
                  <a:pt x="87" y="205"/>
                </a:cubicBezTo>
                <a:cubicBezTo>
                  <a:pt x="90" y="199"/>
                  <a:pt x="89" y="190"/>
                  <a:pt x="83" y="186"/>
                </a:cubicBezTo>
                <a:cubicBezTo>
                  <a:pt x="77" y="182"/>
                  <a:pt x="68" y="184"/>
                  <a:pt x="64" y="190"/>
                </a:cubicBezTo>
                <a:cubicBezTo>
                  <a:pt x="24" y="254"/>
                  <a:pt x="3" y="327"/>
                  <a:pt x="3" y="402"/>
                </a:cubicBezTo>
                <a:cubicBezTo>
                  <a:pt x="3" y="622"/>
                  <a:pt x="183" y="802"/>
                  <a:pt x="403" y="802"/>
                </a:cubicBezTo>
                <a:cubicBezTo>
                  <a:pt x="623" y="802"/>
                  <a:pt x="803" y="622"/>
                  <a:pt x="803" y="402"/>
                </a:cubicBezTo>
                <a:cubicBezTo>
                  <a:pt x="803" y="181"/>
                  <a:pt x="623" y="1"/>
                  <a:pt x="403" y="1"/>
                </a:cubicBezTo>
                <a:close/>
                <a:moveTo>
                  <a:pt x="137" y="135"/>
                </a:moveTo>
                <a:lnTo>
                  <a:pt x="102" y="135"/>
                </a:lnTo>
                <a:lnTo>
                  <a:pt x="48" y="81"/>
                </a:lnTo>
                <a:lnTo>
                  <a:pt x="69" y="81"/>
                </a:lnTo>
                <a:cubicBezTo>
                  <a:pt x="77" y="81"/>
                  <a:pt x="83" y="75"/>
                  <a:pt x="83" y="67"/>
                </a:cubicBezTo>
                <a:lnTo>
                  <a:pt x="83" y="46"/>
                </a:lnTo>
                <a:lnTo>
                  <a:pt x="137" y="100"/>
                </a:lnTo>
                <a:lnTo>
                  <a:pt x="137" y="135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 w="0">
            <a:noFill/>
            <a:prstDash val="solid"/>
            <a:round/>
          </a:ln>
        </p:spPr>
        <p:txBody>
          <a:bodyPr vert="horz" wrap="square" lIns="91424" tIns="45712" rIns="91424" bIns="45712" numCol="1" anchor="t" anchorCtr="0" compatLnSpc="1"/>
          <a:lstStyle/>
          <a:p>
            <a:pPr defTabSz="913765"/>
            <a:endParaRPr lang="en-US" sz="1200">
              <a:solidFill>
                <a:prstClr val="black"/>
              </a:solidFill>
              <a:latin typeface="Questrial"/>
            </a:endParaRP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9B399AAD-34A2-13C0-6342-18B8EB324F7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60751" y="2523547"/>
            <a:ext cx="360339" cy="359945"/>
          </a:xfrm>
          <a:custGeom>
            <a:avLst/>
            <a:gdLst>
              <a:gd name="T0" fmla="*/ 480 w 800"/>
              <a:gd name="T1" fmla="*/ 240 h 800"/>
              <a:gd name="T2" fmla="*/ 426 w 800"/>
              <a:gd name="T3" fmla="*/ 494 h 800"/>
              <a:gd name="T4" fmla="*/ 399 w 800"/>
              <a:gd name="T5" fmla="*/ 494 h 800"/>
              <a:gd name="T6" fmla="*/ 412 w 800"/>
              <a:gd name="T7" fmla="*/ 214 h 800"/>
              <a:gd name="T8" fmla="*/ 506 w 800"/>
              <a:gd name="T9" fmla="*/ 228 h 800"/>
              <a:gd name="T10" fmla="*/ 492 w 800"/>
              <a:gd name="T11" fmla="*/ 428 h 800"/>
              <a:gd name="T12" fmla="*/ 604 w 800"/>
              <a:gd name="T13" fmla="*/ 529 h 800"/>
              <a:gd name="T14" fmla="*/ 632 w 800"/>
              <a:gd name="T15" fmla="*/ 576 h 800"/>
              <a:gd name="T16" fmla="*/ 652 w 800"/>
              <a:gd name="T17" fmla="*/ 576 h 800"/>
              <a:gd name="T18" fmla="*/ 624 w 800"/>
              <a:gd name="T19" fmla="*/ 529 h 800"/>
              <a:gd name="T20" fmla="*/ 102 w 800"/>
              <a:gd name="T21" fmla="*/ 190 h 800"/>
              <a:gd name="T22" fmla="*/ 54 w 800"/>
              <a:gd name="T23" fmla="*/ 319 h 800"/>
              <a:gd name="T24" fmla="*/ 586 w 800"/>
              <a:gd name="T25" fmla="*/ 319 h 800"/>
              <a:gd name="T26" fmla="*/ 400 w 800"/>
              <a:gd name="T27" fmla="*/ 79 h 800"/>
              <a:gd name="T28" fmla="*/ 559 w 800"/>
              <a:gd name="T29" fmla="*/ 319 h 800"/>
              <a:gd name="T30" fmla="*/ 79 w 800"/>
              <a:gd name="T31" fmla="*/ 319 h 800"/>
              <a:gd name="T32" fmla="*/ 102 w 800"/>
              <a:gd name="T33" fmla="*/ 190 h 800"/>
              <a:gd name="T34" fmla="*/ 294 w 800"/>
              <a:gd name="T35" fmla="*/ 520 h 800"/>
              <a:gd name="T36" fmla="*/ 347 w 800"/>
              <a:gd name="T37" fmla="*/ 26 h 800"/>
              <a:gd name="T38" fmla="*/ 361 w 800"/>
              <a:gd name="T39" fmla="*/ 534 h 800"/>
              <a:gd name="T40" fmla="*/ 375 w 800"/>
              <a:gd name="T41" fmla="*/ 14 h 800"/>
              <a:gd name="T42" fmla="*/ 281 w 800"/>
              <a:gd name="T43" fmla="*/ 0 h 800"/>
              <a:gd name="T44" fmla="*/ 267 w 800"/>
              <a:gd name="T45" fmla="*/ 520 h 800"/>
              <a:gd name="T46" fmla="*/ 226 w 800"/>
              <a:gd name="T47" fmla="*/ 106 h 800"/>
              <a:gd name="T48" fmla="*/ 132 w 800"/>
              <a:gd name="T49" fmla="*/ 120 h 800"/>
              <a:gd name="T50" fmla="*/ 146 w 800"/>
              <a:gd name="T51" fmla="*/ 428 h 800"/>
              <a:gd name="T52" fmla="*/ 160 w 800"/>
              <a:gd name="T53" fmla="*/ 134 h 800"/>
              <a:gd name="T54" fmla="*/ 214 w 800"/>
              <a:gd name="T55" fmla="*/ 494 h 800"/>
              <a:gd name="T56" fmla="*/ 241 w 800"/>
              <a:gd name="T57" fmla="*/ 494 h 800"/>
              <a:gd name="T58" fmla="*/ 226 w 800"/>
              <a:gd name="T59" fmla="*/ 106 h 800"/>
              <a:gd name="T60" fmla="*/ 686 w 800"/>
              <a:gd name="T61" fmla="*/ 592 h 800"/>
              <a:gd name="T62" fmla="*/ 676 w 800"/>
              <a:gd name="T63" fmla="*/ 589 h 800"/>
              <a:gd name="T64" fmla="*/ 629 w 800"/>
              <a:gd name="T65" fmla="*/ 630 h 800"/>
              <a:gd name="T66" fmla="*/ 648 w 800"/>
              <a:gd name="T67" fmla="*/ 649 h 800"/>
              <a:gd name="T68" fmla="*/ 760 w 800"/>
              <a:gd name="T69" fmla="*/ 704 h 800"/>
              <a:gd name="T70" fmla="*/ 760 w 800"/>
              <a:gd name="T71" fmla="*/ 761 h 800"/>
              <a:gd name="T72" fmla="*/ 546 w 800"/>
              <a:gd name="T73" fmla="*/ 604 h 800"/>
              <a:gd name="T74" fmla="*/ 528 w 800"/>
              <a:gd name="T75" fmla="*/ 622 h 800"/>
              <a:gd name="T76" fmla="*/ 732 w 800"/>
              <a:gd name="T77" fmla="*/ 800 h 800"/>
              <a:gd name="T78" fmla="*/ 800 w 800"/>
              <a:gd name="T79" fmla="*/ 732 h 800"/>
              <a:gd name="T80" fmla="*/ 640 w 800"/>
              <a:gd name="T81" fmla="*/ 320 h 800"/>
              <a:gd name="T82" fmla="*/ 401 w 800"/>
              <a:gd name="T83" fmla="*/ 24 h 800"/>
              <a:gd name="T84" fmla="*/ 614 w 800"/>
              <a:gd name="T85" fmla="*/ 320 h 800"/>
              <a:gd name="T86" fmla="*/ 26 w 800"/>
              <a:gd name="T87" fmla="*/ 320 h 800"/>
              <a:gd name="T88" fmla="*/ 239 w 800"/>
              <a:gd name="T89" fmla="*/ 24 h 800"/>
              <a:gd name="T90" fmla="*/ 0 w 800"/>
              <a:gd name="T91" fmla="*/ 320 h 800"/>
              <a:gd name="T92" fmla="*/ 640 w 800"/>
              <a:gd name="T93" fmla="*/ 320 h 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800" h="800">
                <a:moveTo>
                  <a:pt x="480" y="414"/>
                </a:moveTo>
                <a:lnTo>
                  <a:pt x="480" y="240"/>
                </a:lnTo>
                <a:lnTo>
                  <a:pt x="426" y="240"/>
                </a:lnTo>
                <a:lnTo>
                  <a:pt x="426" y="494"/>
                </a:lnTo>
                <a:cubicBezTo>
                  <a:pt x="426" y="501"/>
                  <a:pt x="420" y="508"/>
                  <a:pt x="412" y="508"/>
                </a:cubicBezTo>
                <a:cubicBezTo>
                  <a:pt x="405" y="508"/>
                  <a:pt x="399" y="501"/>
                  <a:pt x="399" y="494"/>
                </a:cubicBezTo>
                <a:lnTo>
                  <a:pt x="399" y="228"/>
                </a:lnTo>
                <a:cubicBezTo>
                  <a:pt x="399" y="220"/>
                  <a:pt x="405" y="214"/>
                  <a:pt x="412" y="214"/>
                </a:cubicBezTo>
                <a:lnTo>
                  <a:pt x="492" y="214"/>
                </a:lnTo>
                <a:cubicBezTo>
                  <a:pt x="500" y="214"/>
                  <a:pt x="506" y="220"/>
                  <a:pt x="506" y="228"/>
                </a:cubicBezTo>
                <a:lnTo>
                  <a:pt x="506" y="414"/>
                </a:lnTo>
                <a:cubicBezTo>
                  <a:pt x="506" y="421"/>
                  <a:pt x="500" y="428"/>
                  <a:pt x="492" y="428"/>
                </a:cubicBezTo>
                <a:cubicBezTo>
                  <a:pt x="486" y="426"/>
                  <a:pt x="480" y="421"/>
                  <a:pt x="480" y="414"/>
                </a:cubicBezTo>
                <a:close/>
                <a:moveTo>
                  <a:pt x="604" y="529"/>
                </a:moveTo>
                <a:cubicBezTo>
                  <a:pt x="599" y="534"/>
                  <a:pt x="599" y="543"/>
                  <a:pt x="604" y="547"/>
                </a:cubicBezTo>
                <a:lnTo>
                  <a:pt x="632" y="576"/>
                </a:lnTo>
                <a:cubicBezTo>
                  <a:pt x="635" y="579"/>
                  <a:pt x="639" y="580"/>
                  <a:pt x="642" y="580"/>
                </a:cubicBezTo>
                <a:cubicBezTo>
                  <a:pt x="646" y="580"/>
                  <a:pt x="649" y="579"/>
                  <a:pt x="652" y="576"/>
                </a:cubicBezTo>
                <a:cubicBezTo>
                  <a:pt x="657" y="571"/>
                  <a:pt x="657" y="562"/>
                  <a:pt x="652" y="558"/>
                </a:cubicBezTo>
                <a:lnTo>
                  <a:pt x="624" y="529"/>
                </a:lnTo>
                <a:cubicBezTo>
                  <a:pt x="617" y="522"/>
                  <a:pt x="609" y="522"/>
                  <a:pt x="604" y="529"/>
                </a:cubicBezTo>
                <a:close/>
                <a:moveTo>
                  <a:pt x="102" y="190"/>
                </a:moveTo>
                <a:cubicBezTo>
                  <a:pt x="96" y="186"/>
                  <a:pt x="87" y="189"/>
                  <a:pt x="85" y="195"/>
                </a:cubicBezTo>
                <a:cubicBezTo>
                  <a:pt x="65" y="232"/>
                  <a:pt x="54" y="276"/>
                  <a:pt x="54" y="319"/>
                </a:cubicBezTo>
                <a:cubicBezTo>
                  <a:pt x="54" y="466"/>
                  <a:pt x="174" y="585"/>
                  <a:pt x="320" y="585"/>
                </a:cubicBezTo>
                <a:cubicBezTo>
                  <a:pt x="467" y="585"/>
                  <a:pt x="586" y="465"/>
                  <a:pt x="586" y="319"/>
                </a:cubicBezTo>
                <a:cubicBezTo>
                  <a:pt x="586" y="209"/>
                  <a:pt x="520" y="111"/>
                  <a:pt x="417" y="71"/>
                </a:cubicBezTo>
                <a:cubicBezTo>
                  <a:pt x="411" y="69"/>
                  <a:pt x="402" y="72"/>
                  <a:pt x="400" y="79"/>
                </a:cubicBezTo>
                <a:cubicBezTo>
                  <a:pt x="397" y="85"/>
                  <a:pt x="401" y="94"/>
                  <a:pt x="407" y="96"/>
                </a:cubicBezTo>
                <a:cubicBezTo>
                  <a:pt x="500" y="132"/>
                  <a:pt x="559" y="220"/>
                  <a:pt x="559" y="319"/>
                </a:cubicBezTo>
                <a:cubicBezTo>
                  <a:pt x="559" y="451"/>
                  <a:pt x="451" y="559"/>
                  <a:pt x="319" y="559"/>
                </a:cubicBezTo>
                <a:cubicBezTo>
                  <a:pt x="186" y="559"/>
                  <a:pt x="79" y="451"/>
                  <a:pt x="79" y="319"/>
                </a:cubicBezTo>
                <a:cubicBezTo>
                  <a:pt x="79" y="280"/>
                  <a:pt x="89" y="241"/>
                  <a:pt x="106" y="207"/>
                </a:cubicBezTo>
                <a:cubicBezTo>
                  <a:pt x="111" y="201"/>
                  <a:pt x="109" y="194"/>
                  <a:pt x="102" y="190"/>
                </a:cubicBezTo>
                <a:close/>
                <a:moveTo>
                  <a:pt x="280" y="534"/>
                </a:moveTo>
                <a:cubicBezTo>
                  <a:pt x="287" y="534"/>
                  <a:pt x="294" y="527"/>
                  <a:pt x="294" y="520"/>
                </a:cubicBezTo>
                <a:lnTo>
                  <a:pt x="294" y="26"/>
                </a:lnTo>
                <a:lnTo>
                  <a:pt x="347" y="26"/>
                </a:lnTo>
                <a:lnTo>
                  <a:pt x="347" y="520"/>
                </a:lnTo>
                <a:cubicBezTo>
                  <a:pt x="347" y="527"/>
                  <a:pt x="354" y="534"/>
                  <a:pt x="361" y="534"/>
                </a:cubicBezTo>
                <a:cubicBezTo>
                  <a:pt x="369" y="534"/>
                  <a:pt x="375" y="527"/>
                  <a:pt x="375" y="520"/>
                </a:cubicBezTo>
                <a:lnTo>
                  <a:pt x="375" y="14"/>
                </a:lnTo>
                <a:cubicBezTo>
                  <a:pt x="375" y="6"/>
                  <a:pt x="369" y="0"/>
                  <a:pt x="361" y="0"/>
                </a:cubicBezTo>
                <a:lnTo>
                  <a:pt x="281" y="0"/>
                </a:lnTo>
                <a:cubicBezTo>
                  <a:pt x="274" y="0"/>
                  <a:pt x="267" y="6"/>
                  <a:pt x="267" y="14"/>
                </a:cubicBezTo>
                <a:lnTo>
                  <a:pt x="267" y="520"/>
                </a:lnTo>
                <a:cubicBezTo>
                  <a:pt x="266" y="527"/>
                  <a:pt x="272" y="534"/>
                  <a:pt x="280" y="534"/>
                </a:cubicBezTo>
                <a:close/>
                <a:moveTo>
                  <a:pt x="226" y="106"/>
                </a:moveTo>
                <a:lnTo>
                  <a:pt x="146" y="106"/>
                </a:lnTo>
                <a:cubicBezTo>
                  <a:pt x="139" y="106"/>
                  <a:pt x="132" y="112"/>
                  <a:pt x="132" y="120"/>
                </a:cubicBezTo>
                <a:lnTo>
                  <a:pt x="132" y="414"/>
                </a:lnTo>
                <a:cubicBezTo>
                  <a:pt x="132" y="421"/>
                  <a:pt x="139" y="428"/>
                  <a:pt x="146" y="428"/>
                </a:cubicBezTo>
                <a:cubicBezTo>
                  <a:pt x="154" y="428"/>
                  <a:pt x="160" y="421"/>
                  <a:pt x="160" y="414"/>
                </a:cubicBezTo>
                <a:lnTo>
                  <a:pt x="160" y="134"/>
                </a:lnTo>
                <a:lnTo>
                  <a:pt x="214" y="134"/>
                </a:lnTo>
                <a:lnTo>
                  <a:pt x="214" y="494"/>
                </a:lnTo>
                <a:cubicBezTo>
                  <a:pt x="214" y="501"/>
                  <a:pt x="220" y="508"/>
                  <a:pt x="227" y="508"/>
                </a:cubicBezTo>
                <a:cubicBezTo>
                  <a:pt x="235" y="508"/>
                  <a:pt x="241" y="501"/>
                  <a:pt x="241" y="494"/>
                </a:cubicBezTo>
                <a:lnTo>
                  <a:pt x="241" y="120"/>
                </a:lnTo>
                <a:cubicBezTo>
                  <a:pt x="240" y="112"/>
                  <a:pt x="234" y="106"/>
                  <a:pt x="226" y="106"/>
                </a:cubicBezTo>
                <a:close/>
                <a:moveTo>
                  <a:pt x="780" y="686"/>
                </a:moveTo>
                <a:lnTo>
                  <a:pt x="686" y="592"/>
                </a:lnTo>
                <a:cubicBezTo>
                  <a:pt x="684" y="590"/>
                  <a:pt x="680" y="589"/>
                  <a:pt x="676" y="589"/>
                </a:cubicBezTo>
                <a:lnTo>
                  <a:pt x="676" y="589"/>
                </a:lnTo>
                <a:cubicBezTo>
                  <a:pt x="673" y="589"/>
                  <a:pt x="669" y="590"/>
                  <a:pt x="666" y="592"/>
                </a:cubicBezTo>
                <a:lnTo>
                  <a:pt x="629" y="630"/>
                </a:lnTo>
                <a:cubicBezTo>
                  <a:pt x="624" y="635"/>
                  <a:pt x="624" y="644"/>
                  <a:pt x="629" y="649"/>
                </a:cubicBezTo>
                <a:cubicBezTo>
                  <a:pt x="634" y="654"/>
                  <a:pt x="643" y="654"/>
                  <a:pt x="648" y="649"/>
                </a:cubicBezTo>
                <a:lnTo>
                  <a:pt x="676" y="620"/>
                </a:lnTo>
                <a:lnTo>
                  <a:pt x="760" y="704"/>
                </a:lnTo>
                <a:cubicBezTo>
                  <a:pt x="768" y="711"/>
                  <a:pt x="771" y="721"/>
                  <a:pt x="771" y="732"/>
                </a:cubicBezTo>
                <a:cubicBezTo>
                  <a:pt x="771" y="744"/>
                  <a:pt x="768" y="754"/>
                  <a:pt x="760" y="761"/>
                </a:cubicBezTo>
                <a:cubicBezTo>
                  <a:pt x="745" y="776"/>
                  <a:pt x="719" y="776"/>
                  <a:pt x="704" y="761"/>
                </a:cubicBezTo>
                <a:lnTo>
                  <a:pt x="546" y="604"/>
                </a:lnTo>
                <a:cubicBezTo>
                  <a:pt x="541" y="599"/>
                  <a:pt x="532" y="599"/>
                  <a:pt x="528" y="604"/>
                </a:cubicBezTo>
                <a:cubicBezTo>
                  <a:pt x="523" y="609"/>
                  <a:pt x="523" y="617"/>
                  <a:pt x="528" y="622"/>
                </a:cubicBezTo>
                <a:lnTo>
                  <a:pt x="685" y="780"/>
                </a:lnTo>
                <a:cubicBezTo>
                  <a:pt x="698" y="792"/>
                  <a:pt x="715" y="800"/>
                  <a:pt x="732" y="800"/>
                </a:cubicBezTo>
                <a:cubicBezTo>
                  <a:pt x="750" y="800"/>
                  <a:pt x="766" y="794"/>
                  <a:pt x="780" y="780"/>
                </a:cubicBezTo>
                <a:cubicBezTo>
                  <a:pt x="792" y="767"/>
                  <a:pt x="800" y="751"/>
                  <a:pt x="800" y="732"/>
                </a:cubicBezTo>
                <a:cubicBezTo>
                  <a:pt x="800" y="715"/>
                  <a:pt x="792" y="699"/>
                  <a:pt x="780" y="686"/>
                </a:cubicBezTo>
                <a:close/>
                <a:moveTo>
                  <a:pt x="640" y="320"/>
                </a:moveTo>
                <a:cubicBezTo>
                  <a:pt x="640" y="180"/>
                  <a:pt x="550" y="58"/>
                  <a:pt x="418" y="15"/>
                </a:cubicBezTo>
                <a:cubicBezTo>
                  <a:pt x="410" y="13"/>
                  <a:pt x="403" y="16"/>
                  <a:pt x="401" y="24"/>
                </a:cubicBezTo>
                <a:cubicBezTo>
                  <a:pt x="399" y="31"/>
                  <a:pt x="403" y="39"/>
                  <a:pt x="410" y="40"/>
                </a:cubicBezTo>
                <a:cubicBezTo>
                  <a:pt x="533" y="79"/>
                  <a:pt x="614" y="191"/>
                  <a:pt x="614" y="320"/>
                </a:cubicBezTo>
                <a:cubicBezTo>
                  <a:pt x="614" y="481"/>
                  <a:pt x="483" y="614"/>
                  <a:pt x="320" y="614"/>
                </a:cubicBezTo>
                <a:cubicBezTo>
                  <a:pt x="159" y="614"/>
                  <a:pt x="26" y="483"/>
                  <a:pt x="26" y="320"/>
                </a:cubicBezTo>
                <a:cubicBezTo>
                  <a:pt x="26" y="191"/>
                  <a:pt x="109" y="80"/>
                  <a:pt x="230" y="40"/>
                </a:cubicBezTo>
                <a:cubicBezTo>
                  <a:pt x="238" y="38"/>
                  <a:pt x="241" y="30"/>
                  <a:pt x="239" y="24"/>
                </a:cubicBezTo>
                <a:cubicBezTo>
                  <a:pt x="236" y="16"/>
                  <a:pt x="229" y="13"/>
                  <a:pt x="223" y="15"/>
                </a:cubicBezTo>
                <a:cubicBezTo>
                  <a:pt x="89" y="58"/>
                  <a:pt x="0" y="180"/>
                  <a:pt x="0" y="320"/>
                </a:cubicBezTo>
                <a:cubicBezTo>
                  <a:pt x="0" y="496"/>
                  <a:pt x="144" y="640"/>
                  <a:pt x="320" y="640"/>
                </a:cubicBezTo>
                <a:cubicBezTo>
                  <a:pt x="496" y="640"/>
                  <a:pt x="640" y="496"/>
                  <a:pt x="640" y="320"/>
                </a:cubicBezTo>
                <a:close/>
              </a:path>
            </a:pathLst>
          </a:custGeom>
          <a:solidFill>
            <a:schemeClr val="tx2">
              <a:lumMod val="50000"/>
            </a:schemeClr>
          </a:solidFill>
          <a:ln w="0">
            <a:noFill/>
            <a:prstDash val="solid"/>
            <a:round/>
          </a:ln>
        </p:spPr>
        <p:txBody>
          <a:bodyPr vert="horz" wrap="square" lIns="91424" tIns="45712" rIns="91424" bIns="45712" numCol="1" anchor="t" anchorCtr="0" compatLnSpc="1"/>
          <a:lstStyle/>
          <a:p>
            <a:pPr defTabSz="913765"/>
            <a:endParaRPr lang="en-US" sz="1200">
              <a:solidFill>
                <a:prstClr val="black"/>
              </a:solidFill>
              <a:latin typeface="Questrial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51EB2C85-D8BE-F459-F6FB-62E9007A2C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00170" y="1728944"/>
            <a:ext cx="7091830" cy="3730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3035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3000"/>
    </mc:Choice>
    <mc:Fallback xmlns="">
      <p:transition advTm="300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tx2">
                <a:lumMod val="60000"/>
                <a:lumOff val="40000"/>
                <a:alpha val="57000"/>
              </a:schemeClr>
            </a:gs>
            <a:gs pos="0">
              <a:schemeClr val="tx2">
                <a:lumMod val="20000"/>
                <a:lumOff val="80000"/>
                <a:alpha val="0"/>
              </a:schemeClr>
            </a:gs>
          </a:gsLst>
          <a:lin ang="0" scaled="0"/>
        </a:gradFill>
        <a:effectLst/>
      </p:bgPr>
    </p:bg>
    <p:spTree>
      <p:nvGrpSpPr>
        <p:cNvPr id="1" name="ïṡḻïď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 rot="15768604">
            <a:off x="-454516" y="5186932"/>
            <a:ext cx="1951242" cy="1951242"/>
            <a:chOff x="3738861" y="1313527"/>
            <a:chExt cx="3771900" cy="3771900"/>
          </a:xfrm>
        </p:grpSpPr>
        <p:sp>
          <p:nvSpPr>
            <p:cNvPr id="5" name="iṩḷîḓê"/>
            <p:cNvSpPr/>
            <p:nvPr userDrawn="1"/>
          </p:nvSpPr>
          <p:spPr>
            <a:xfrm rot="6203470">
              <a:off x="3738861" y="1313527"/>
              <a:ext cx="3771900" cy="3771900"/>
            </a:xfrm>
            <a:prstGeom prst="ellipse">
              <a:avLst/>
            </a:prstGeom>
            <a:gradFill>
              <a:gsLst>
                <a:gs pos="65000">
                  <a:srgbClr val="D96D61">
                    <a:alpha val="31000"/>
                  </a:srgbClr>
                </a:gs>
                <a:gs pos="0">
                  <a:srgbClr val="D96D61">
                    <a:alpha val="0"/>
                  </a:srgbClr>
                </a:gs>
                <a:gs pos="100000">
                  <a:srgbClr val="D96D61">
                    <a:alpha val="56000"/>
                  </a:srgbClr>
                </a:gs>
              </a:gsLst>
              <a:lin ang="0" scaled="0"/>
            </a:gradFill>
            <a:ln>
              <a:noFill/>
            </a:ln>
            <a:effectLst>
              <a:glow rad="304800">
                <a:schemeClr val="accent1">
                  <a:alpha val="1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ïšḷiḑê"/>
            <p:cNvSpPr/>
            <p:nvPr userDrawn="1"/>
          </p:nvSpPr>
          <p:spPr>
            <a:xfrm rot="6203470">
              <a:off x="3738861" y="1313527"/>
              <a:ext cx="3771900" cy="3771900"/>
            </a:xfrm>
            <a:prstGeom prst="ellips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28294">
                  <a:schemeClr val="bg2">
                    <a:alpha val="43000"/>
                  </a:schemeClr>
                </a:gs>
                <a:gs pos="94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1" name="ísḷîdè"/>
          <p:cNvSpPr/>
          <p:nvPr userDrawn="1"/>
        </p:nvSpPr>
        <p:spPr>
          <a:xfrm rot="21144926">
            <a:off x="6800929" y="1082928"/>
            <a:ext cx="3771900" cy="3771900"/>
          </a:xfrm>
          <a:prstGeom prst="ellipse">
            <a:avLst/>
          </a:prstGeom>
          <a:gradFill>
            <a:gsLst>
              <a:gs pos="0">
                <a:schemeClr val="accent1">
                  <a:alpha val="0"/>
                </a:schemeClr>
              </a:gs>
              <a:gs pos="28294">
                <a:schemeClr val="tx2">
                  <a:alpha val="39000"/>
                </a:schemeClr>
              </a:gs>
              <a:gs pos="94000">
                <a:schemeClr val="accent1"/>
              </a:gs>
            </a:gsLst>
            <a:lin ang="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2" name="组合 11"/>
          <p:cNvGrpSpPr/>
          <p:nvPr/>
        </p:nvGrpSpPr>
        <p:grpSpPr>
          <a:xfrm rot="13619201">
            <a:off x="10240789" y="2168633"/>
            <a:ext cx="1128930" cy="1128930"/>
            <a:chOff x="3738861" y="1313527"/>
            <a:chExt cx="3771900" cy="3771900"/>
          </a:xfrm>
        </p:grpSpPr>
        <p:sp>
          <p:nvSpPr>
            <p:cNvPr id="13" name="iṣ1ïďè"/>
            <p:cNvSpPr/>
            <p:nvPr userDrawn="1"/>
          </p:nvSpPr>
          <p:spPr>
            <a:xfrm rot="6203470">
              <a:off x="3738861" y="1313527"/>
              <a:ext cx="3771900" cy="3771900"/>
            </a:xfrm>
            <a:prstGeom prst="ellipse">
              <a:avLst/>
            </a:prstGeom>
            <a:gradFill>
              <a:gsLst>
                <a:gs pos="65000">
                  <a:srgbClr val="D96D61">
                    <a:alpha val="31000"/>
                  </a:srgbClr>
                </a:gs>
                <a:gs pos="0">
                  <a:srgbClr val="D96D61">
                    <a:alpha val="0"/>
                  </a:srgbClr>
                </a:gs>
                <a:gs pos="100000">
                  <a:srgbClr val="D96D61">
                    <a:alpha val="56000"/>
                  </a:srgbClr>
                </a:gs>
              </a:gsLst>
              <a:lin ang="0" scaled="0"/>
            </a:gradFill>
            <a:ln>
              <a:noFill/>
            </a:ln>
            <a:effectLst>
              <a:glow rad="304800">
                <a:schemeClr val="accent1">
                  <a:alpha val="1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" name="îṩlîḓe"/>
            <p:cNvSpPr/>
            <p:nvPr userDrawn="1"/>
          </p:nvSpPr>
          <p:spPr>
            <a:xfrm rot="6203470">
              <a:off x="3738861" y="1313527"/>
              <a:ext cx="3771900" cy="3771900"/>
            </a:xfrm>
            <a:prstGeom prst="ellips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28294">
                  <a:schemeClr val="tx2">
                    <a:alpha val="64000"/>
                  </a:schemeClr>
                </a:gs>
                <a:gs pos="94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7" name="Group 19"/>
          <p:cNvGrpSpPr/>
          <p:nvPr/>
        </p:nvGrpSpPr>
        <p:grpSpPr>
          <a:xfrm>
            <a:off x="2054221" y="1113498"/>
            <a:ext cx="3666475" cy="696389"/>
            <a:chOff x="2155025" y="4449725"/>
            <a:chExt cx="2391371" cy="696782"/>
          </a:xfrm>
        </p:grpSpPr>
        <p:sp>
          <p:nvSpPr>
            <p:cNvPr id="18" name="TextBox 17"/>
            <p:cNvSpPr txBox="1"/>
            <p:nvPr/>
          </p:nvSpPr>
          <p:spPr>
            <a:xfrm>
              <a:off x="2155025" y="4449725"/>
              <a:ext cx="1994017" cy="52351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r>
                <a:rPr lang="zh-CN" altLang="en-US" sz="2800" dirty="0"/>
                <a:t>大模型定义及分类</a:t>
              </a:r>
              <a:endParaRPr lang="en-US" altLang="zh-CN" sz="2800" dirty="0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155025" y="4869352"/>
              <a:ext cx="2391371" cy="277155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endParaRPr lang="en-US" altLang="zh-CN" sz="1200" dirty="0"/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2054221" y="2376487"/>
            <a:ext cx="3781805" cy="696389"/>
            <a:chOff x="2155025" y="4449725"/>
            <a:chExt cx="2466592" cy="696782"/>
          </a:xfrm>
        </p:grpSpPr>
        <p:sp>
          <p:nvSpPr>
            <p:cNvPr id="21" name="TextBox 20"/>
            <p:cNvSpPr txBox="1"/>
            <p:nvPr/>
          </p:nvSpPr>
          <p:spPr>
            <a:xfrm>
              <a:off x="2155025" y="4449725"/>
              <a:ext cx="2466592" cy="52351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>
                <a:spcBef>
                  <a:spcPts val="450"/>
                </a:spcBef>
              </a:pPr>
              <a:r>
                <a:rPr lang="zh-CN" altLang="en-US" sz="2800" dirty="0"/>
                <a:t>国外前</a:t>
              </a:r>
              <a:r>
                <a:rPr lang="en-US" altLang="zh-CN" sz="2800" dirty="0"/>
                <a:t>10</a:t>
              </a:r>
              <a:r>
                <a:rPr lang="zh-CN" altLang="en-US" sz="2800" dirty="0"/>
                <a:t>个大模型分析</a:t>
              </a:r>
            </a:p>
          </p:txBody>
        </p:sp>
        <p:sp>
          <p:nvSpPr>
            <p:cNvPr id="22" name="Rectangle 18"/>
            <p:cNvSpPr/>
            <p:nvPr/>
          </p:nvSpPr>
          <p:spPr>
            <a:xfrm>
              <a:off x="2155025" y="4869352"/>
              <a:ext cx="2391371" cy="277155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endParaRPr lang="en-US" altLang="zh-CN" sz="1200" dirty="0"/>
            </a:p>
          </p:txBody>
        </p:sp>
      </p:grpSp>
      <p:grpSp>
        <p:nvGrpSpPr>
          <p:cNvPr id="23" name="Group 19"/>
          <p:cNvGrpSpPr/>
          <p:nvPr/>
        </p:nvGrpSpPr>
        <p:grpSpPr>
          <a:xfrm>
            <a:off x="2054221" y="3672631"/>
            <a:ext cx="3873176" cy="696389"/>
            <a:chOff x="2155025" y="4449725"/>
            <a:chExt cx="2526187" cy="696782"/>
          </a:xfrm>
        </p:grpSpPr>
        <p:sp>
          <p:nvSpPr>
            <p:cNvPr id="24" name="TextBox 23"/>
            <p:cNvSpPr txBox="1"/>
            <p:nvPr/>
          </p:nvSpPr>
          <p:spPr>
            <a:xfrm>
              <a:off x="2155025" y="4449725"/>
              <a:ext cx="2526187" cy="52351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r>
                <a:rPr lang="zh-CN" altLang="en-US" sz="2800" dirty="0"/>
                <a:t>国内前</a:t>
              </a:r>
              <a:r>
                <a:rPr lang="en-US" altLang="zh-CN" sz="2800" dirty="0"/>
                <a:t>10</a:t>
              </a:r>
              <a:r>
                <a:rPr lang="zh-CN" altLang="en-US" sz="2800" dirty="0"/>
                <a:t>个大模型分析</a:t>
              </a:r>
              <a:endParaRPr lang="en-US" altLang="zh-CN" sz="2800" dirty="0"/>
            </a:p>
          </p:txBody>
        </p:sp>
        <p:sp>
          <p:nvSpPr>
            <p:cNvPr id="25" name="Rectangle 18"/>
            <p:cNvSpPr/>
            <p:nvPr/>
          </p:nvSpPr>
          <p:spPr>
            <a:xfrm>
              <a:off x="2155025" y="4869352"/>
              <a:ext cx="2391371" cy="277155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endParaRPr lang="en-US" altLang="zh-CN" sz="1200" dirty="0"/>
            </a:p>
          </p:txBody>
        </p:sp>
      </p:grpSp>
      <p:grpSp>
        <p:nvGrpSpPr>
          <p:cNvPr id="26" name="Group 19"/>
          <p:cNvGrpSpPr/>
          <p:nvPr/>
        </p:nvGrpSpPr>
        <p:grpSpPr>
          <a:xfrm>
            <a:off x="2054221" y="4968775"/>
            <a:ext cx="4493538" cy="696389"/>
            <a:chOff x="2155025" y="4449725"/>
            <a:chExt cx="2930803" cy="696782"/>
          </a:xfrm>
        </p:grpSpPr>
        <p:sp>
          <p:nvSpPr>
            <p:cNvPr id="27" name="TextBox 26"/>
            <p:cNvSpPr txBox="1"/>
            <p:nvPr/>
          </p:nvSpPr>
          <p:spPr>
            <a:xfrm>
              <a:off x="2155025" y="4449725"/>
              <a:ext cx="2930803" cy="52351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r>
                <a:rPr lang="zh-CN" altLang="en-US" sz="2800" dirty="0"/>
                <a:t>大模型选择原因及实际应用</a:t>
              </a:r>
              <a:endParaRPr lang="en-US" altLang="zh-CN" sz="2800" dirty="0"/>
            </a:p>
          </p:txBody>
        </p:sp>
        <p:sp>
          <p:nvSpPr>
            <p:cNvPr id="28" name="Rectangle 18"/>
            <p:cNvSpPr/>
            <p:nvPr/>
          </p:nvSpPr>
          <p:spPr>
            <a:xfrm>
              <a:off x="2155025" y="4869352"/>
              <a:ext cx="2391371" cy="277155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endParaRPr lang="en-US" altLang="zh-CN" sz="1200" dirty="0"/>
            </a:p>
          </p:txBody>
        </p:sp>
      </p:grpSp>
      <p:sp>
        <p:nvSpPr>
          <p:cNvPr id="2" name="矩形 1"/>
          <p:cNvSpPr/>
          <p:nvPr/>
        </p:nvSpPr>
        <p:spPr>
          <a:xfrm>
            <a:off x="7568623" y="2402750"/>
            <a:ext cx="2236511" cy="1323439"/>
          </a:xfrm>
          <a:prstGeom prst="rect">
            <a:avLst/>
          </a:prstGeom>
        </p:spPr>
        <p:txBody>
          <a:bodyPr vert="horz" wrap="none">
            <a:spAutoFit/>
          </a:bodyPr>
          <a:lstStyle/>
          <a:p>
            <a:pPr algn="ctr"/>
            <a:r>
              <a:rPr lang="zh-CN" altLang="en-US" sz="8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haroni" pitchFamily="2" charset="-79"/>
                <a:cs typeface="Aharoni" pitchFamily="2" charset="-79"/>
              </a:rPr>
              <a:t>目录</a:t>
            </a:r>
            <a:endParaRPr lang="en-US" altLang="zh-CN" sz="8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haroni" pitchFamily="2" charset="-79"/>
              <a:cs typeface="Aharoni" pitchFamily="2" charset="-79"/>
            </a:endParaRPr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3000"/>
    </mc:Choice>
    <mc:Fallback xmlns="">
      <p:transition advTm="3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dur="5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4" presetClass="entr" presetSubtype="1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5" presetID="42" presetClass="entr" presetSubtype="0" dur="5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21" presetID="12" presetClass="entr" presetSubtype="8" dur="5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2" presetClass="entr" presetSubtype="8" dur="5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31" presetID="12" presetClass="entr" presetSubtype="8" dur="5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 nodeType="afterGroup">
                            <p:stCondLst>
                              <p:cond delay="2500"/>
                            </p:stCondLst>
                            <p:childTnLst>
                              <p:par>
                                <p:cTn id="36" presetID="12" presetClass="entr" presetSubtype="8" dur="5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2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22C159-B6D3-8F4E-4B37-442822BD7E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1F9C807F-379A-B3A0-ED78-C0E5E89AD490}"/>
              </a:ext>
            </a:extLst>
          </p:cNvPr>
          <p:cNvSpPr txBox="1"/>
          <p:nvPr/>
        </p:nvSpPr>
        <p:spPr>
          <a:xfrm>
            <a:off x="1714365" y="4160027"/>
            <a:ext cx="3399367" cy="848953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目前仅限于快手生态内部调用，生态封闭性较强；</a:t>
            </a:r>
            <a:b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人物面部细节处理不够精细，影响视觉表现</a:t>
            </a:r>
            <a:r>
              <a:rPr lang="zh-CN" altLang="en-US" sz="800" dirty="0"/>
              <a:t>。</a:t>
            </a:r>
            <a:endParaRPr lang="en-US" sz="15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0DCD109A-DE7E-1FB3-7BBA-E7F061543627}"/>
              </a:ext>
            </a:extLst>
          </p:cNvPr>
          <p:cNvSpPr txBox="1"/>
          <p:nvPr/>
        </p:nvSpPr>
        <p:spPr>
          <a:xfrm>
            <a:off x="1295466" y="1072312"/>
            <a:ext cx="4053651" cy="330149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3600" b="1" dirty="0">
                <a:solidFill>
                  <a:srgbClr val="404040"/>
                </a:solidFill>
                <a:latin typeface="Inter"/>
              </a:rPr>
              <a:t>快手可灵</a:t>
            </a:r>
            <a:endParaRPr lang="en-US" sz="3600" b="1" dirty="0">
              <a:solidFill>
                <a:srgbClr val="404040"/>
              </a:solidFill>
              <a:latin typeface="Inter"/>
            </a:endParaRPr>
          </a:p>
        </p:txBody>
      </p:sp>
      <p:sp>
        <p:nvSpPr>
          <p:cNvPr id="5" name="Text Placeholder 13">
            <a:extLst>
              <a:ext uri="{FF2B5EF4-FFF2-40B4-BE49-F238E27FC236}">
                <a16:creationId xmlns:a16="http://schemas.microsoft.com/office/drawing/2014/main" id="{D291BA33-1D3C-D280-8F4F-072BAD4CBC0A}"/>
              </a:ext>
            </a:extLst>
          </p:cNvPr>
          <p:cNvSpPr txBox="1"/>
          <p:nvPr/>
        </p:nvSpPr>
        <p:spPr>
          <a:xfrm>
            <a:off x="1714365" y="3859423"/>
            <a:ext cx="3399367" cy="507923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500" dirty="0"/>
              <a:t>缺点</a:t>
            </a:r>
            <a:endParaRPr lang="en-US" sz="1500" dirty="0"/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44B1ABC5-9611-7DB3-906C-157E3E022809}"/>
              </a:ext>
            </a:extLst>
          </p:cNvPr>
          <p:cNvSpPr txBox="1"/>
          <p:nvPr/>
        </p:nvSpPr>
        <p:spPr>
          <a:xfrm>
            <a:off x="1717533" y="2623856"/>
            <a:ext cx="3399367" cy="848953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支持</a:t>
            </a: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3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分钟长视频生成，创意视频制作具备行业最长优势；</a:t>
            </a:r>
            <a:b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分辨率可达</a:t>
            </a: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1080p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，适合高品质视频输出</a:t>
            </a:r>
            <a:r>
              <a:rPr lang="zh-CN" altLang="en-US" sz="800" dirty="0"/>
              <a:t>。</a:t>
            </a:r>
            <a:endParaRPr lang="en-US" sz="15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39EA4BDD-A177-6772-4AF7-A7D8BE05067F}"/>
              </a:ext>
            </a:extLst>
          </p:cNvPr>
          <p:cNvSpPr txBox="1"/>
          <p:nvPr/>
        </p:nvSpPr>
        <p:spPr>
          <a:xfrm>
            <a:off x="1717533" y="2375568"/>
            <a:ext cx="3399367" cy="507923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500" dirty="0"/>
              <a:t>优点</a:t>
            </a:r>
            <a:endParaRPr lang="en-US" sz="1500" dirty="0"/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F4B3638C-DA9C-B88F-58A5-F3AF415FD1A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60081" y="4007403"/>
            <a:ext cx="360671" cy="359945"/>
          </a:xfrm>
          <a:custGeom>
            <a:avLst/>
            <a:gdLst>
              <a:gd name="T0" fmla="*/ 159 w 803"/>
              <a:gd name="T1" fmla="*/ 85 h 802"/>
              <a:gd name="T2" fmla="*/ 64 w 803"/>
              <a:gd name="T3" fmla="*/ 2 h 802"/>
              <a:gd name="T4" fmla="*/ 55 w 803"/>
              <a:gd name="T5" fmla="*/ 55 h 802"/>
              <a:gd name="T6" fmla="*/ 3 w 803"/>
              <a:gd name="T7" fmla="*/ 63 h 802"/>
              <a:gd name="T8" fmla="*/ 85 w 803"/>
              <a:gd name="T9" fmla="*/ 158 h 802"/>
              <a:gd name="T10" fmla="*/ 143 w 803"/>
              <a:gd name="T11" fmla="*/ 162 h 802"/>
              <a:gd name="T12" fmla="*/ 403 w 803"/>
              <a:gd name="T13" fmla="*/ 416 h 802"/>
              <a:gd name="T14" fmla="*/ 413 w 803"/>
              <a:gd name="T15" fmla="*/ 393 h 802"/>
              <a:gd name="T16" fmla="*/ 403 w 803"/>
              <a:gd name="T17" fmla="*/ 348 h 802"/>
              <a:gd name="T18" fmla="*/ 403 w 803"/>
              <a:gd name="T19" fmla="*/ 456 h 802"/>
              <a:gd name="T20" fmla="*/ 335 w 803"/>
              <a:gd name="T21" fmla="*/ 388 h 802"/>
              <a:gd name="T22" fmla="*/ 402 w 803"/>
              <a:gd name="T23" fmla="*/ 482 h 802"/>
              <a:gd name="T24" fmla="*/ 402 w 803"/>
              <a:gd name="T25" fmla="*/ 322 h 802"/>
              <a:gd name="T26" fmla="*/ 299 w 803"/>
              <a:gd name="T27" fmla="*/ 280 h 802"/>
              <a:gd name="T28" fmla="*/ 563 w 803"/>
              <a:gd name="T29" fmla="*/ 402 h 802"/>
              <a:gd name="T30" fmla="*/ 243 w 803"/>
              <a:gd name="T31" fmla="*/ 402 h 802"/>
              <a:gd name="T32" fmla="*/ 253 w 803"/>
              <a:gd name="T33" fmla="*/ 315 h 802"/>
              <a:gd name="T34" fmla="*/ 217 w 803"/>
              <a:gd name="T35" fmla="*/ 402 h 802"/>
              <a:gd name="T36" fmla="*/ 589 w 803"/>
              <a:gd name="T37" fmla="*/ 402 h 802"/>
              <a:gd name="T38" fmla="*/ 280 w 803"/>
              <a:gd name="T39" fmla="*/ 262 h 802"/>
              <a:gd name="T40" fmla="*/ 403 w 803"/>
              <a:gd name="T41" fmla="*/ 137 h 802"/>
              <a:gd name="T42" fmla="*/ 403 w 803"/>
              <a:gd name="T43" fmla="*/ 670 h 802"/>
              <a:gd name="T44" fmla="*/ 180 w 803"/>
              <a:gd name="T45" fmla="*/ 257 h 802"/>
              <a:gd name="T46" fmla="*/ 158 w 803"/>
              <a:gd name="T47" fmla="*/ 242 h 802"/>
              <a:gd name="T48" fmla="*/ 403 w 803"/>
              <a:gd name="T49" fmla="*/ 697 h 802"/>
              <a:gd name="T50" fmla="*/ 403 w 803"/>
              <a:gd name="T51" fmla="*/ 110 h 802"/>
              <a:gd name="T52" fmla="*/ 163 w 803"/>
              <a:gd name="T53" fmla="*/ 145 h 802"/>
              <a:gd name="T54" fmla="*/ 403 w 803"/>
              <a:gd name="T55" fmla="*/ 30 h 802"/>
              <a:gd name="T56" fmla="*/ 403 w 803"/>
              <a:gd name="T57" fmla="*/ 777 h 802"/>
              <a:gd name="T58" fmla="*/ 87 w 803"/>
              <a:gd name="T59" fmla="*/ 205 h 802"/>
              <a:gd name="T60" fmla="*/ 64 w 803"/>
              <a:gd name="T61" fmla="*/ 190 h 802"/>
              <a:gd name="T62" fmla="*/ 403 w 803"/>
              <a:gd name="T63" fmla="*/ 802 h 802"/>
              <a:gd name="T64" fmla="*/ 403 w 803"/>
              <a:gd name="T65" fmla="*/ 1 h 802"/>
              <a:gd name="T66" fmla="*/ 102 w 803"/>
              <a:gd name="T67" fmla="*/ 135 h 802"/>
              <a:gd name="T68" fmla="*/ 69 w 803"/>
              <a:gd name="T69" fmla="*/ 81 h 802"/>
              <a:gd name="T70" fmla="*/ 83 w 803"/>
              <a:gd name="T71" fmla="*/ 46 h 802"/>
              <a:gd name="T72" fmla="*/ 137 w 803"/>
              <a:gd name="T73" fmla="*/ 135 h 8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03" h="802">
                <a:moveTo>
                  <a:pt x="403" y="1"/>
                </a:moveTo>
                <a:cubicBezTo>
                  <a:pt x="314" y="1"/>
                  <a:pt x="228" y="31"/>
                  <a:pt x="159" y="85"/>
                </a:cubicBezTo>
                <a:lnTo>
                  <a:pt x="79" y="5"/>
                </a:lnTo>
                <a:cubicBezTo>
                  <a:pt x="75" y="1"/>
                  <a:pt x="69" y="0"/>
                  <a:pt x="64" y="2"/>
                </a:cubicBezTo>
                <a:cubicBezTo>
                  <a:pt x="59" y="5"/>
                  <a:pt x="55" y="10"/>
                  <a:pt x="55" y="15"/>
                </a:cubicBezTo>
                <a:lnTo>
                  <a:pt x="55" y="55"/>
                </a:lnTo>
                <a:lnTo>
                  <a:pt x="15" y="55"/>
                </a:lnTo>
                <a:cubicBezTo>
                  <a:pt x="10" y="55"/>
                  <a:pt x="5" y="59"/>
                  <a:pt x="3" y="63"/>
                </a:cubicBezTo>
                <a:cubicBezTo>
                  <a:pt x="0" y="68"/>
                  <a:pt x="2" y="75"/>
                  <a:pt x="5" y="78"/>
                </a:cubicBezTo>
                <a:lnTo>
                  <a:pt x="85" y="158"/>
                </a:lnTo>
                <a:cubicBezTo>
                  <a:pt x="88" y="161"/>
                  <a:pt x="92" y="162"/>
                  <a:pt x="95" y="162"/>
                </a:cubicBezTo>
                <a:lnTo>
                  <a:pt x="143" y="162"/>
                </a:lnTo>
                <a:lnTo>
                  <a:pt x="393" y="412"/>
                </a:lnTo>
                <a:cubicBezTo>
                  <a:pt x="395" y="415"/>
                  <a:pt x="399" y="416"/>
                  <a:pt x="403" y="416"/>
                </a:cubicBezTo>
                <a:cubicBezTo>
                  <a:pt x="407" y="416"/>
                  <a:pt x="409" y="415"/>
                  <a:pt x="413" y="412"/>
                </a:cubicBezTo>
                <a:cubicBezTo>
                  <a:pt x="418" y="407"/>
                  <a:pt x="418" y="398"/>
                  <a:pt x="413" y="393"/>
                </a:cubicBezTo>
                <a:lnTo>
                  <a:pt x="375" y="356"/>
                </a:lnTo>
                <a:cubicBezTo>
                  <a:pt x="383" y="351"/>
                  <a:pt x="392" y="348"/>
                  <a:pt x="403" y="348"/>
                </a:cubicBezTo>
                <a:cubicBezTo>
                  <a:pt x="433" y="348"/>
                  <a:pt x="457" y="372"/>
                  <a:pt x="457" y="402"/>
                </a:cubicBezTo>
                <a:cubicBezTo>
                  <a:pt x="457" y="432"/>
                  <a:pt x="433" y="456"/>
                  <a:pt x="403" y="456"/>
                </a:cubicBezTo>
                <a:cubicBezTo>
                  <a:pt x="373" y="456"/>
                  <a:pt x="349" y="432"/>
                  <a:pt x="349" y="402"/>
                </a:cubicBezTo>
                <a:cubicBezTo>
                  <a:pt x="349" y="395"/>
                  <a:pt x="343" y="388"/>
                  <a:pt x="335" y="388"/>
                </a:cubicBezTo>
                <a:cubicBezTo>
                  <a:pt x="328" y="388"/>
                  <a:pt x="322" y="395"/>
                  <a:pt x="322" y="402"/>
                </a:cubicBezTo>
                <a:cubicBezTo>
                  <a:pt x="322" y="446"/>
                  <a:pt x="358" y="482"/>
                  <a:pt x="402" y="482"/>
                </a:cubicBezTo>
                <a:cubicBezTo>
                  <a:pt x="445" y="482"/>
                  <a:pt x="482" y="446"/>
                  <a:pt x="482" y="402"/>
                </a:cubicBezTo>
                <a:cubicBezTo>
                  <a:pt x="482" y="358"/>
                  <a:pt x="445" y="322"/>
                  <a:pt x="402" y="322"/>
                </a:cubicBezTo>
                <a:cubicBezTo>
                  <a:pt x="384" y="322"/>
                  <a:pt x="368" y="327"/>
                  <a:pt x="355" y="336"/>
                </a:cubicBezTo>
                <a:lnTo>
                  <a:pt x="299" y="280"/>
                </a:lnTo>
                <a:cubicBezTo>
                  <a:pt x="328" y="255"/>
                  <a:pt x="364" y="242"/>
                  <a:pt x="403" y="242"/>
                </a:cubicBezTo>
                <a:cubicBezTo>
                  <a:pt x="492" y="242"/>
                  <a:pt x="563" y="313"/>
                  <a:pt x="563" y="402"/>
                </a:cubicBezTo>
                <a:cubicBezTo>
                  <a:pt x="563" y="491"/>
                  <a:pt x="492" y="562"/>
                  <a:pt x="403" y="562"/>
                </a:cubicBezTo>
                <a:cubicBezTo>
                  <a:pt x="314" y="562"/>
                  <a:pt x="243" y="491"/>
                  <a:pt x="243" y="402"/>
                </a:cubicBezTo>
                <a:cubicBezTo>
                  <a:pt x="243" y="379"/>
                  <a:pt x="248" y="355"/>
                  <a:pt x="259" y="332"/>
                </a:cubicBezTo>
                <a:cubicBezTo>
                  <a:pt x="263" y="326"/>
                  <a:pt x="259" y="317"/>
                  <a:pt x="253" y="315"/>
                </a:cubicBezTo>
                <a:cubicBezTo>
                  <a:pt x="247" y="311"/>
                  <a:pt x="238" y="315"/>
                  <a:pt x="235" y="321"/>
                </a:cubicBezTo>
                <a:cubicBezTo>
                  <a:pt x="223" y="347"/>
                  <a:pt x="217" y="375"/>
                  <a:pt x="217" y="402"/>
                </a:cubicBezTo>
                <a:cubicBezTo>
                  <a:pt x="217" y="505"/>
                  <a:pt x="300" y="588"/>
                  <a:pt x="403" y="588"/>
                </a:cubicBezTo>
                <a:cubicBezTo>
                  <a:pt x="505" y="588"/>
                  <a:pt x="589" y="505"/>
                  <a:pt x="589" y="402"/>
                </a:cubicBezTo>
                <a:cubicBezTo>
                  <a:pt x="589" y="300"/>
                  <a:pt x="505" y="216"/>
                  <a:pt x="403" y="216"/>
                </a:cubicBezTo>
                <a:cubicBezTo>
                  <a:pt x="358" y="216"/>
                  <a:pt x="314" y="232"/>
                  <a:pt x="280" y="262"/>
                </a:cubicBezTo>
                <a:lnTo>
                  <a:pt x="224" y="206"/>
                </a:lnTo>
                <a:cubicBezTo>
                  <a:pt x="273" y="161"/>
                  <a:pt x="337" y="137"/>
                  <a:pt x="403" y="137"/>
                </a:cubicBezTo>
                <a:cubicBezTo>
                  <a:pt x="550" y="137"/>
                  <a:pt x="669" y="257"/>
                  <a:pt x="669" y="404"/>
                </a:cubicBezTo>
                <a:cubicBezTo>
                  <a:pt x="669" y="550"/>
                  <a:pt x="549" y="670"/>
                  <a:pt x="403" y="670"/>
                </a:cubicBezTo>
                <a:cubicBezTo>
                  <a:pt x="255" y="670"/>
                  <a:pt x="137" y="550"/>
                  <a:pt x="137" y="404"/>
                </a:cubicBezTo>
                <a:cubicBezTo>
                  <a:pt x="137" y="351"/>
                  <a:pt x="152" y="301"/>
                  <a:pt x="180" y="257"/>
                </a:cubicBezTo>
                <a:cubicBezTo>
                  <a:pt x="184" y="251"/>
                  <a:pt x="183" y="242"/>
                  <a:pt x="177" y="239"/>
                </a:cubicBezTo>
                <a:cubicBezTo>
                  <a:pt x="170" y="235"/>
                  <a:pt x="162" y="236"/>
                  <a:pt x="158" y="242"/>
                </a:cubicBezTo>
                <a:cubicBezTo>
                  <a:pt x="127" y="290"/>
                  <a:pt x="109" y="346"/>
                  <a:pt x="109" y="404"/>
                </a:cubicBezTo>
                <a:cubicBezTo>
                  <a:pt x="109" y="565"/>
                  <a:pt x="240" y="697"/>
                  <a:pt x="403" y="697"/>
                </a:cubicBezTo>
                <a:cubicBezTo>
                  <a:pt x="565" y="697"/>
                  <a:pt x="697" y="566"/>
                  <a:pt x="697" y="404"/>
                </a:cubicBezTo>
                <a:cubicBezTo>
                  <a:pt x="697" y="241"/>
                  <a:pt x="565" y="110"/>
                  <a:pt x="403" y="110"/>
                </a:cubicBezTo>
                <a:cubicBezTo>
                  <a:pt x="329" y="110"/>
                  <a:pt x="259" y="137"/>
                  <a:pt x="205" y="187"/>
                </a:cubicBezTo>
                <a:lnTo>
                  <a:pt x="163" y="145"/>
                </a:lnTo>
                <a:lnTo>
                  <a:pt x="163" y="117"/>
                </a:lnTo>
                <a:cubicBezTo>
                  <a:pt x="230" y="61"/>
                  <a:pt x="315" y="30"/>
                  <a:pt x="403" y="30"/>
                </a:cubicBezTo>
                <a:cubicBezTo>
                  <a:pt x="609" y="30"/>
                  <a:pt x="777" y="197"/>
                  <a:pt x="777" y="404"/>
                </a:cubicBezTo>
                <a:cubicBezTo>
                  <a:pt x="777" y="610"/>
                  <a:pt x="609" y="777"/>
                  <a:pt x="403" y="777"/>
                </a:cubicBezTo>
                <a:cubicBezTo>
                  <a:pt x="197" y="777"/>
                  <a:pt x="29" y="610"/>
                  <a:pt x="29" y="404"/>
                </a:cubicBezTo>
                <a:cubicBezTo>
                  <a:pt x="29" y="334"/>
                  <a:pt x="49" y="265"/>
                  <a:pt x="87" y="205"/>
                </a:cubicBezTo>
                <a:cubicBezTo>
                  <a:pt x="90" y="199"/>
                  <a:pt x="89" y="190"/>
                  <a:pt x="83" y="186"/>
                </a:cubicBezTo>
                <a:cubicBezTo>
                  <a:pt x="77" y="182"/>
                  <a:pt x="68" y="184"/>
                  <a:pt x="64" y="190"/>
                </a:cubicBezTo>
                <a:cubicBezTo>
                  <a:pt x="24" y="254"/>
                  <a:pt x="3" y="327"/>
                  <a:pt x="3" y="402"/>
                </a:cubicBezTo>
                <a:cubicBezTo>
                  <a:pt x="3" y="622"/>
                  <a:pt x="183" y="802"/>
                  <a:pt x="403" y="802"/>
                </a:cubicBezTo>
                <a:cubicBezTo>
                  <a:pt x="623" y="802"/>
                  <a:pt x="803" y="622"/>
                  <a:pt x="803" y="402"/>
                </a:cubicBezTo>
                <a:cubicBezTo>
                  <a:pt x="803" y="181"/>
                  <a:pt x="623" y="1"/>
                  <a:pt x="403" y="1"/>
                </a:cubicBezTo>
                <a:close/>
                <a:moveTo>
                  <a:pt x="137" y="135"/>
                </a:moveTo>
                <a:lnTo>
                  <a:pt x="102" y="135"/>
                </a:lnTo>
                <a:lnTo>
                  <a:pt x="48" y="81"/>
                </a:lnTo>
                <a:lnTo>
                  <a:pt x="69" y="81"/>
                </a:lnTo>
                <a:cubicBezTo>
                  <a:pt x="77" y="81"/>
                  <a:pt x="83" y="75"/>
                  <a:pt x="83" y="67"/>
                </a:cubicBezTo>
                <a:lnTo>
                  <a:pt x="83" y="46"/>
                </a:lnTo>
                <a:lnTo>
                  <a:pt x="137" y="100"/>
                </a:lnTo>
                <a:lnTo>
                  <a:pt x="137" y="135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 w="0">
            <a:noFill/>
            <a:prstDash val="solid"/>
            <a:round/>
          </a:ln>
        </p:spPr>
        <p:txBody>
          <a:bodyPr vert="horz" wrap="square" lIns="91424" tIns="45712" rIns="91424" bIns="45712" numCol="1" anchor="t" anchorCtr="0" compatLnSpc="1"/>
          <a:lstStyle/>
          <a:p>
            <a:pPr defTabSz="913765"/>
            <a:endParaRPr lang="en-US" sz="1200">
              <a:solidFill>
                <a:prstClr val="black"/>
              </a:solidFill>
              <a:latin typeface="Questrial"/>
            </a:endParaRP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0BD5A4C4-D049-D73F-FBB0-3BEFF2C7836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60751" y="2523547"/>
            <a:ext cx="360339" cy="359945"/>
          </a:xfrm>
          <a:custGeom>
            <a:avLst/>
            <a:gdLst>
              <a:gd name="T0" fmla="*/ 480 w 800"/>
              <a:gd name="T1" fmla="*/ 240 h 800"/>
              <a:gd name="T2" fmla="*/ 426 w 800"/>
              <a:gd name="T3" fmla="*/ 494 h 800"/>
              <a:gd name="T4" fmla="*/ 399 w 800"/>
              <a:gd name="T5" fmla="*/ 494 h 800"/>
              <a:gd name="T6" fmla="*/ 412 w 800"/>
              <a:gd name="T7" fmla="*/ 214 h 800"/>
              <a:gd name="T8" fmla="*/ 506 w 800"/>
              <a:gd name="T9" fmla="*/ 228 h 800"/>
              <a:gd name="T10" fmla="*/ 492 w 800"/>
              <a:gd name="T11" fmla="*/ 428 h 800"/>
              <a:gd name="T12" fmla="*/ 604 w 800"/>
              <a:gd name="T13" fmla="*/ 529 h 800"/>
              <a:gd name="T14" fmla="*/ 632 w 800"/>
              <a:gd name="T15" fmla="*/ 576 h 800"/>
              <a:gd name="T16" fmla="*/ 652 w 800"/>
              <a:gd name="T17" fmla="*/ 576 h 800"/>
              <a:gd name="T18" fmla="*/ 624 w 800"/>
              <a:gd name="T19" fmla="*/ 529 h 800"/>
              <a:gd name="T20" fmla="*/ 102 w 800"/>
              <a:gd name="T21" fmla="*/ 190 h 800"/>
              <a:gd name="T22" fmla="*/ 54 w 800"/>
              <a:gd name="T23" fmla="*/ 319 h 800"/>
              <a:gd name="T24" fmla="*/ 586 w 800"/>
              <a:gd name="T25" fmla="*/ 319 h 800"/>
              <a:gd name="T26" fmla="*/ 400 w 800"/>
              <a:gd name="T27" fmla="*/ 79 h 800"/>
              <a:gd name="T28" fmla="*/ 559 w 800"/>
              <a:gd name="T29" fmla="*/ 319 h 800"/>
              <a:gd name="T30" fmla="*/ 79 w 800"/>
              <a:gd name="T31" fmla="*/ 319 h 800"/>
              <a:gd name="T32" fmla="*/ 102 w 800"/>
              <a:gd name="T33" fmla="*/ 190 h 800"/>
              <a:gd name="T34" fmla="*/ 294 w 800"/>
              <a:gd name="T35" fmla="*/ 520 h 800"/>
              <a:gd name="T36" fmla="*/ 347 w 800"/>
              <a:gd name="T37" fmla="*/ 26 h 800"/>
              <a:gd name="T38" fmla="*/ 361 w 800"/>
              <a:gd name="T39" fmla="*/ 534 h 800"/>
              <a:gd name="T40" fmla="*/ 375 w 800"/>
              <a:gd name="T41" fmla="*/ 14 h 800"/>
              <a:gd name="T42" fmla="*/ 281 w 800"/>
              <a:gd name="T43" fmla="*/ 0 h 800"/>
              <a:gd name="T44" fmla="*/ 267 w 800"/>
              <a:gd name="T45" fmla="*/ 520 h 800"/>
              <a:gd name="T46" fmla="*/ 226 w 800"/>
              <a:gd name="T47" fmla="*/ 106 h 800"/>
              <a:gd name="T48" fmla="*/ 132 w 800"/>
              <a:gd name="T49" fmla="*/ 120 h 800"/>
              <a:gd name="T50" fmla="*/ 146 w 800"/>
              <a:gd name="T51" fmla="*/ 428 h 800"/>
              <a:gd name="T52" fmla="*/ 160 w 800"/>
              <a:gd name="T53" fmla="*/ 134 h 800"/>
              <a:gd name="T54" fmla="*/ 214 w 800"/>
              <a:gd name="T55" fmla="*/ 494 h 800"/>
              <a:gd name="T56" fmla="*/ 241 w 800"/>
              <a:gd name="T57" fmla="*/ 494 h 800"/>
              <a:gd name="T58" fmla="*/ 226 w 800"/>
              <a:gd name="T59" fmla="*/ 106 h 800"/>
              <a:gd name="T60" fmla="*/ 686 w 800"/>
              <a:gd name="T61" fmla="*/ 592 h 800"/>
              <a:gd name="T62" fmla="*/ 676 w 800"/>
              <a:gd name="T63" fmla="*/ 589 h 800"/>
              <a:gd name="T64" fmla="*/ 629 w 800"/>
              <a:gd name="T65" fmla="*/ 630 h 800"/>
              <a:gd name="T66" fmla="*/ 648 w 800"/>
              <a:gd name="T67" fmla="*/ 649 h 800"/>
              <a:gd name="T68" fmla="*/ 760 w 800"/>
              <a:gd name="T69" fmla="*/ 704 h 800"/>
              <a:gd name="T70" fmla="*/ 760 w 800"/>
              <a:gd name="T71" fmla="*/ 761 h 800"/>
              <a:gd name="T72" fmla="*/ 546 w 800"/>
              <a:gd name="T73" fmla="*/ 604 h 800"/>
              <a:gd name="T74" fmla="*/ 528 w 800"/>
              <a:gd name="T75" fmla="*/ 622 h 800"/>
              <a:gd name="T76" fmla="*/ 732 w 800"/>
              <a:gd name="T77" fmla="*/ 800 h 800"/>
              <a:gd name="T78" fmla="*/ 800 w 800"/>
              <a:gd name="T79" fmla="*/ 732 h 800"/>
              <a:gd name="T80" fmla="*/ 640 w 800"/>
              <a:gd name="T81" fmla="*/ 320 h 800"/>
              <a:gd name="T82" fmla="*/ 401 w 800"/>
              <a:gd name="T83" fmla="*/ 24 h 800"/>
              <a:gd name="T84" fmla="*/ 614 w 800"/>
              <a:gd name="T85" fmla="*/ 320 h 800"/>
              <a:gd name="T86" fmla="*/ 26 w 800"/>
              <a:gd name="T87" fmla="*/ 320 h 800"/>
              <a:gd name="T88" fmla="*/ 239 w 800"/>
              <a:gd name="T89" fmla="*/ 24 h 800"/>
              <a:gd name="T90" fmla="*/ 0 w 800"/>
              <a:gd name="T91" fmla="*/ 320 h 800"/>
              <a:gd name="T92" fmla="*/ 640 w 800"/>
              <a:gd name="T93" fmla="*/ 320 h 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800" h="800">
                <a:moveTo>
                  <a:pt x="480" y="414"/>
                </a:moveTo>
                <a:lnTo>
                  <a:pt x="480" y="240"/>
                </a:lnTo>
                <a:lnTo>
                  <a:pt x="426" y="240"/>
                </a:lnTo>
                <a:lnTo>
                  <a:pt x="426" y="494"/>
                </a:lnTo>
                <a:cubicBezTo>
                  <a:pt x="426" y="501"/>
                  <a:pt x="420" y="508"/>
                  <a:pt x="412" y="508"/>
                </a:cubicBezTo>
                <a:cubicBezTo>
                  <a:pt x="405" y="508"/>
                  <a:pt x="399" y="501"/>
                  <a:pt x="399" y="494"/>
                </a:cubicBezTo>
                <a:lnTo>
                  <a:pt x="399" y="228"/>
                </a:lnTo>
                <a:cubicBezTo>
                  <a:pt x="399" y="220"/>
                  <a:pt x="405" y="214"/>
                  <a:pt x="412" y="214"/>
                </a:cubicBezTo>
                <a:lnTo>
                  <a:pt x="492" y="214"/>
                </a:lnTo>
                <a:cubicBezTo>
                  <a:pt x="500" y="214"/>
                  <a:pt x="506" y="220"/>
                  <a:pt x="506" y="228"/>
                </a:cubicBezTo>
                <a:lnTo>
                  <a:pt x="506" y="414"/>
                </a:lnTo>
                <a:cubicBezTo>
                  <a:pt x="506" y="421"/>
                  <a:pt x="500" y="428"/>
                  <a:pt x="492" y="428"/>
                </a:cubicBezTo>
                <a:cubicBezTo>
                  <a:pt x="486" y="426"/>
                  <a:pt x="480" y="421"/>
                  <a:pt x="480" y="414"/>
                </a:cubicBezTo>
                <a:close/>
                <a:moveTo>
                  <a:pt x="604" y="529"/>
                </a:moveTo>
                <a:cubicBezTo>
                  <a:pt x="599" y="534"/>
                  <a:pt x="599" y="543"/>
                  <a:pt x="604" y="547"/>
                </a:cubicBezTo>
                <a:lnTo>
                  <a:pt x="632" y="576"/>
                </a:lnTo>
                <a:cubicBezTo>
                  <a:pt x="635" y="579"/>
                  <a:pt x="639" y="580"/>
                  <a:pt x="642" y="580"/>
                </a:cubicBezTo>
                <a:cubicBezTo>
                  <a:pt x="646" y="580"/>
                  <a:pt x="649" y="579"/>
                  <a:pt x="652" y="576"/>
                </a:cubicBezTo>
                <a:cubicBezTo>
                  <a:pt x="657" y="571"/>
                  <a:pt x="657" y="562"/>
                  <a:pt x="652" y="558"/>
                </a:cubicBezTo>
                <a:lnTo>
                  <a:pt x="624" y="529"/>
                </a:lnTo>
                <a:cubicBezTo>
                  <a:pt x="617" y="522"/>
                  <a:pt x="609" y="522"/>
                  <a:pt x="604" y="529"/>
                </a:cubicBezTo>
                <a:close/>
                <a:moveTo>
                  <a:pt x="102" y="190"/>
                </a:moveTo>
                <a:cubicBezTo>
                  <a:pt x="96" y="186"/>
                  <a:pt x="87" y="189"/>
                  <a:pt x="85" y="195"/>
                </a:cubicBezTo>
                <a:cubicBezTo>
                  <a:pt x="65" y="232"/>
                  <a:pt x="54" y="276"/>
                  <a:pt x="54" y="319"/>
                </a:cubicBezTo>
                <a:cubicBezTo>
                  <a:pt x="54" y="466"/>
                  <a:pt x="174" y="585"/>
                  <a:pt x="320" y="585"/>
                </a:cubicBezTo>
                <a:cubicBezTo>
                  <a:pt x="467" y="585"/>
                  <a:pt x="586" y="465"/>
                  <a:pt x="586" y="319"/>
                </a:cubicBezTo>
                <a:cubicBezTo>
                  <a:pt x="586" y="209"/>
                  <a:pt x="520" y="111"/>
                  <a:pt x="417" y="71"/>
                </a:cubicBezTo>
                <a:cubicBezTo>
                  <a:pt x="411" y="69"/>
                  <a:pt x="402" y="72"/>
                  <a:pt x="400" y="79"/>
                </a:cubicBezTo>
                <a:cubicBezTo>
                  <a:pt x="397" y="85"/>
                  <a:pt x="401" y="94"/>
                  <a:pt x="407" y="96"/>
                </a:cubicBezTo>
                <a:cubicBezTo>
                  <a:pt x="500" y="132"/>
                  <a:pt x="559" y="220"/>
                  <a:pt x="559" y="319"/>
                </a:cubicBezTo>
                <a:cubicBezTo>
                  <a:pt x="559" y="451"/>
                  <a:pt x="451" y="559"/>
                  <a:pt x="319" y="559"/>
                </a:cubicBezTo>
                <a:cubicBezTo>
                  <a:pt x="186" y="559"/>
                  <a:pt x="79" y="451"/>
                  <a:pt x="79" y="319"/>
                </a:cubicBezTo>
                <a:cubicBezTo>
                  <a:pt x="79" y="280"/>
                  <a:pt x="89" y="241"/>
                  <a:pt x="106" y="207"/>
                </a:cubicBezTo>
                <a:cubicBezTo>
                  <a:pt x="111" y="201"/>
                  <a:pt x="109" y="194"/>
                  <a:pt x="102" y="190"/>
                </a:cubicBezTo>
                <a:close/>
                <a:moveTo>
                  <a:pt x="280" y="534"/>
                </a:moveTo>
                <a:cubicBezTo>
                  <a:pt x="287" y="534"/>
                  <a:pt x="294" y="527"/>
                  <a:pt x="294" y="520"/>
                </a:cubicBezTo>
                <a:lnTo>
                  <a:pt x="294" y="26"/>
                </a:lnTo>
                <a:lnTo>
                  <a:pt x="347" y="26"/>
                </a:lnTo>
                <a:lnTo>
                  <a:pt x="347" y="520"/>
                </a:lnTo>
                <a:cubicBezTo>
                  <a:pt x="347" y="527"/>
                  <a:pt x="354" y="534"/>
                  <a:pt x="361" y="534"/>
                </a:cubicBezTo>
                <a:cubicBezTo>
                  <a:pt x="369" y="534"/>
                  <a:pt x="375" y="527"/>
                  <a:pt x="375" y="520"/>
                </a:cubicBezTo>
                <a:lnTo>
                  <a:pt x="375" y="14"/>
                </a:lnTo>
                <a:cubicBezTo>
                  <a:pt x="375" y="6"/>
                  <a:pt x="369" y="0"/>
                  <a:pt x="361" y="0"/>
                </a:cubicBezTo>
                <a:lnTo>
                  <a:pt x="281" y="0"/>
                </a:lnTo>
                <a:cubicBezTo>
                  <a:pt x="274" y="0"/>
                  <a:pt x="267" y="6"/>
                  <a:pt x="267" y="14"/>
                </a:cubicBezTo>
                <a:lnTo>
                  <a:pt x="267" y="520"/>
                </a:lnTo>
                <a:cubicBezTo>
                  <a:pt x="266" y="527"/>
                  <a:pt x="272" y="534"/>
                  <a:pt x="280" y="534"/>
                </a:cubicBezTo>
                <a:close/>
                <a:moveTo>
                  <a:pt x="226" y="106"/>
                </a:moveTo>
                <a:lnTo>
                  <a:pt x="146" y="106"/>
                </a:lnTo>
                <a:cubicBezTo>
                  <a:pt x="139" y="106"/>
                  <a:pt x="132" y="112"/>
                  <a:pt x="132" y="120"/>
                </a:cubicBezTo>
                <a:lnTo>
                  <a:pt x="132" y="414"/>
                </a:lnTo>
                <a:cubicBezTo>
                  <a:pt x="132" y="421"/>
                  <a:pt x="139" y="428"/>
                  <a:pt x="146" y="428"/>
                </a:cubicBezTo>
                <a:cubicBezTo>
                  <a:pt x="154" y="428"/>
                  <a:pt x="160" y="421"/>
                  <a:pt x="160" y="414"/>
                </a:cubicBezTo>
                <a:lnTo>
                  <a:pt x="160" y="134"/>
                </a:lnTo>
                <a:lnTo>
                  <a:pt x="214" y="134"/>
                </a:lnTo>
                <a:lnTo>
                  <a:pt x="214" y="494"/>
                </a:lnTo>
                <a:cubicBezTo>
                  <a:pt x="214" y="501"/>
                  <a:pt x="220" y="508"/>
                  <a:pt x="227" y="508"/>
                </a:cubicBezTo>
                <a:cubicBezTo>
                  <a:pt x="235" y="508"/>
                  <a:pt x="241" y="501"/>
                  <a:pt x="241" y="494"/>
                </a:cubicBezTo>
                <a:lnTo>
                  <a:pt x="241" y="120"/>
                </a:lnTo>
                <a:cubicBezTo>
                  <a:pt x="240" y="112"/>
                  <a:pt x="234" y="106"/>
                  <a:pt x="226" y="106"/>
                </a:cubicBezTo>
                <a:close/>
                <a:moveTo>
                  <a:pt x="780" y="686"/>
                </a:moveTo>
                <a:lnTo>
                  <a:pt x="686" y="592"/>
                </a:lnTo>
                <a:cubicBezTo>
                  <a:pt x="684" y="590"/>
                  <a:pt x="680" y="589"/>
                  <a:pt x="676" y="589"/>
                </a:cubicBezTo>
                <a:lnTo>
                  <a:pt x="676" y="589"/>
                </a:lnTo>
                <a:cubicBezTo>
                  <a:pt x="673" y="589"/>
                  <a:pt x="669" y="590"/>
                  <a:pt x="666" y="592"/>
                </a:cubicBezTo>
                <a:lnTo>
                  <a:pt x="629" y="630"/>
                </a:lnTo>
                <a:cubicBezTo>
                  <a:pt x="624" y="635"/>
                  <a:pt x="624" y="644"/>
                  <a:pt x="629" y="649"/>
                </a:cubicBezTo>
                <a:cubicBezTo>
                  <a:pt x="634" y="654"/>
                  <a:pt x="643" y="654"/>
                  <a:pt x="648" y="649"/>
                </a:cubicBezTo>
                <a:lnTo>
                  <a:pt x="676" y="620"/>
                </a:lnTo>
                <a:lnTo>
                  <a:pt x="760" y="704"/>
                </a:lnTo>
                <a:cubicBezTo>
                  <a:pt x="768" y="711"/>
                  <a:pt x="771" y="721"/>
                  <a:pt x="771" y="732"/>
                </a:cubicBezTo>
                <a:cubicBezTo>
                  <a:pt x="771" y="744"/>
                  <a:pt x="768" y="754"/>
                  <a:pt x="760" y="761"/>
                </a:cubicBezTo>
                <a:cubicBezTo>
                  <a:pt x="745" y="776"/>
                  <a:pt x="719" y="776"/>
                  <a:pt x="704" y="761"/>
                </a:cubicBezTo>
                <a:lnTo>
                  <a:pt x="546" y="604"/>
                </a:lnTo>
                <a:cubicBezTo>
                  <a:pt x="541" y="599"/>
                  <a:pt x="532" y="599"/>
                  <a:pt x="528" y="604"/>
                </a:cubicBezTo>
                <a:cubicBezTo>
                  <a:pt x="523" y="609"/>
                  <a:pt x="523" y="617"/>
                  <a:pt x="528" y="622"/>
                </a:cubicBezTo>
                <a:lnTo>
                  <a:pt x="685" y="780"/>
                </a:lnTo>
                <a:cubicBezTo>
                  <a:pt x="698" y="792"/>
                  <a:pt x="715" y="800"/>
                  <a:pt x="732" y="800"/>
                </a:cubicBezTo>
                <a:cubicBezTo>
                  <a:pt x="750" y="800"/>
                  <a:pt x="766" y="794"/>
                  <a:pt x="780" y="780"/>
                </a:cubicBezTo>
                <a:cubicBezTo>
                  <a:pt x="792" y="767"/>
                  <a:pt x="800" y="751"/>
                  <a:pt x="800" y="732"/>
                </a:cubicBezTo>
                <a:cubicBezTo>
                  <a:pt x="800" y="715"/>
                  <a:pt x="792" y="699"/>
                  <a:pt x="780" y="686"/>
                </a:cubicBezTo>
                <a:close/>
                <a:moveTo>
                  <a:pt x="640" y="320"/>
                </a:moveTo>
                <a:cubicBezTo>
                  <a:pt x="640" y="180"/>
                  <a:pt x="550" y="58"/>
                  <a:pt x="418" y="15"/>
                </a:cubicBezTo>
                <a:cubicBezTo>
                  <a:pt x="410" y="13"/>
                  <a:pt x="403" y="16"/>
                  <a:pt x="401" y="24"/>
                </a:cubicBezTo>
                <a:cubicBezTo>
                  <a:pt x="399" y="31"/>
                  <a:pt x="403" y="39"/>
                  <a:pt x="410" y="40"/>
                </a:cubicBezTo>
                <a:cubicBezTo>
                  <a:pt x="533" y="79"/>
                  <a:pt x="614" y="191"/>
                  <a:pt x="614" y="320"/>
                </a:cubicBezTo>
                <a:cubicBezTo>
                  <a:pt x="614" y="481"/>
                  <a:pt x="483" y="614"/>
                  <a:pt x="320" y="614"/>
                </a:cubicBezTo>
                <a:cubicBezTo>
                  <a:pt x="159" y="614"/>
                  <a:pt x="26" y="483"/>
                  <a:pt x="26" y="320"/>
                </a:cubicBezTo>
                <a:cubicBezTo>
                  <a:pt x="26" y="191"/>
                  <a:pt x="109" y="80"/>
                  <a:pt x="230" y="40"/>
                </a:cubicBezTo>
                <a:cubicBezTo>
                  <a:pt x="238" y="38"/>
                  <a:pt x="241" y="30"/>
                  <a:pt x="239" y="24"/>
                </a:cubicBezTo>
                <a:cubicBezTo>
                  <a:pt x="236" y="16"/>
                  <a:pt x="229" y="13"/>
                  <a:pt x="223" y="15"/>
                </a:cubicBezTo>
                <a:cubicBezTo>
                  <a:pt x="89" y="58"/>
                  <a:pt x="0" y="180"/>
                  <a:pt x="0" y="320"/>
                </a:cubicBezTo>
                <a:cubicBezTo>
                  <a:pt x="0" y="496"/>
                  <a:pt x="144" y="640"/>
                  <a:pt x="320" y="640"/>
                </a:cubicBezTo>
                <a:cubicBezTo>
                  <a:pt x="496" y="640"/>
                  <a:pt x="640" y="496"/>
                  <a:pt x="640" y="320"/>
                </a:cubicBezTo>
                <a:close/>
              </a:path>
            </a:pathLst>
          </a:custGeom>
          <a:solidFill>
            <a:schemeClr val="tx2">
              <a:lumMod val="50000"/>
            </a:schemeClr>
          </a:solidFill>
          <a:ln w="0">
            <a:noFill/>
            <a:prstDash val="solid"/>
            <a:round/>
          </a:ln>
        </p:spPr>
        <p:txBody>
          <a:bodyPr vert="horz" wrap="square" lIns="91424" tIns="45712" rIns="91424" bIns="45712" numCol="1" anchor="t" anchorCtr="0" compatLnSpc="1"/>
          <a:lstStyle/>
          <a:p>
            <a:pPr defTabSz="913765"/>
            <a:endParaRPr lang="en-US" sz="1200">
              <a:solidFill>
                <a:prstClr val="black"/>
              </a:solidFill>
              <a:latin typeface="Questrial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3911F7EB-9CE7-DB06-660A-8D43EADCBA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8714" y="1727251"/>
            <a:ext cx="6893286" cy="3626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144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3000"/>
    </mc:Choice>
    <mc:Fallback xmlns="">
      <p:transition advTm="3000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589DB2-54AB-0A49-ED03-EF0C580F3D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CC1090B0-C989-3CD5-33DA-EE655E3CC7A9}"/>
              </a:ext>
            </a:extLst>
          </p:cNvPr>
          <p:cNvSpPr txBox="1"/>
          <p:nvPr/>
        </p:nvSpPr>
        <p:spPr>
          <a:xfrm>
            <a:off x="1714365" y="4160027"/>
            <a:ext cx="3399367" cy="848953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生成内容可能较为冗长，阅读体验不够精炼；</a:t>
            </a:r>
            <a:b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实时信息更新存在约</a:t>
            </a: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24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小时的延迟，影响时效性应用</a:t>
            </a:r>
            <a:endParaRPr lang="en-US" sz="14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535C0AC3-CFB2-B17A-564F-549EB9A60F30}"/>
              </a:ext>
            </a:extLst>
          </p:cNvPr>
          <p:cNvSpPr txBox="1"/>
          <p:nvPr/>
        </p:nvSpPr>
        <p:spPr>
          <a:xfrm>
            <a:off x="2600805" y="1155389"/>
            <a:ext cx="4053651" cy="330149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3600" b="1" dirty="0">
                <a:solidFill>
                  <a:srgbClr val="404040"/>
                </a:solidFill>
                <a:latin typeface="Inter"/>
              </a:rPr>
              <a:t>Kimi</a:t>
            </a:r>
            <a:endParaRPr lang="en-US" sz="3600" b="1" dirty="0">
              <a:solidFill>
                <a:srgbClr val="404040"/>
              </a:solidFill>
              <a:latin typeface="Inter"/>
            </a:endParaRPr>
          </a:p>
        </p:txBody>
      </p:sp>
      <p:sp>
        <p:nvSpPr>
          <p:cNvPr id="5" name="Text Placeholder 13">
            <a:extLst>
              <a:ext uri="{FF2B5EF4-FFF2-40B4-BE49-F238E27FC236}">
                <a16:creationId xmlns:a16="http://schemas.microsoft.com/office/drawing/2014/main" id="{3B0D2361-A871-8FE3-0B08-0CFFB9430EE7}"/>
              </a:ext>
            </a:extLst>
          </p:cNvPr>
          <p:cNvSpPr txBox="1"/>
          <p:nvPr/>
        </p:nvSpPr>
        <p:spPr>
          <a:xfrm>
            <a:off x="1714365" y="3859423"/>
            <a:ext cx="3399367" cy="507923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500" dirty="0"/>
              <a:t>缺点</a:t>
            </a:r>
            <a:endParaRPr lang="en-US" sz="1500" dirty="0"/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5D0B2652-99F1-33A6-CE4A-DF4E9C58491E}"/>
              </a:ext>
            </a:extLst>
          </p:cNvPr>
          <p:cNvSpPr txBox="1"/>
          <p:nvPr/>
        </p:nvSpPr>
        <p:spPr>
          <a:xfrm>
            <a:off x="1717533" y="2623856"/>
            <a:ext cx="3399367" cy="848953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支持</a:t>
            </a: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200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万字长文本解析，具备专利级长文本处理技术；</a:t>
            </a:r>
            <a:b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法律合同分析准确率达</a:t>
            </a: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99.2%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，适用于法律文档自动审核</a:t>
            </a:r>
            <a:endParaRPr lang="en-US" sz="14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9E343D03-BA1D-CA98-A1BD-3509B2444FF4}"/>
              </a:ext>
            </a:extLst>
          </p:cNvPr>
          <p:cNvSpPr txBox="1"/>
          <p:nvPr/>
        </p:nvSpPr>
        <p:spPr>
          <a:xfrm>
            <a:off x="1717533" y="2375568"/>
            <a:ext cx="3399367" cy="507923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500" dirty="0"/>
              <a:t>优点</a:t>
            </a:r>
            <a:endParaRPr lang="en-US" sz="1500" dirty="0"/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B9CD3472-628A-5D95-63DA-1B54D30E428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60081" y="4007403"/>
            <a:ext cx="360671" cy="359945"/>
          </a:xfrm>
          <a:custGeom>
            <a:avLst/>
            <a:gdLst>
              <a:gd name="T0" fmla="*/ 159 w 803"/>
              <a:gd name="T1" fmla="*/ 85 h 802"/>
              <a:gd name="T2" fmla="*/ 64 w 803"/>
              <a:gd name="T3" fmla="*/ 2 h 802"/>
              <a:gd name="T4" fmla="*/ 55 w 803"/>
              <a:gd name="T5" fmla="*/ 55 h 802"/>
              <a:gd name="T6" fmla="*/ 3 w 803"/>
              <a:gd name="T7" fmla="*/ 63 h 802"/>
              <a:gd name="T8" fmla="*/ 85 w 803"/>
              <a:gd name="T9" fmla="*/ 158 h 802"/>
              <a:gd name="T10" fmla="*/ 143 w 803"/>
              <a:gd name="T11" fmla="*/ 162 h 802"/>
              <a:gd name="T12" fmla="*/ 403 w 803"/>
              <a:gd name="T13" fmla="*/ 416 h 802"/>
              <a:gd name="T14" fmla="*/ 413 w 803"/>
              <a:gd name="T15" fmla="*/ 393 h 802"/>
              <a:gd name="T16" fmla="*/ 403 w 803"/>
              <a:gd name="T17" fmla="*/ 348 h 802"/>
              <a:gd name="T18" fmla="*/ 403 w 803"/>
              <a:gd name="T19" fmla="*/ 456 h 802"/>
              <a:gd name="T20" fmla="*/ 335 w 803"/>
              <a:gd name="T21" fmla="*/ 388 h 802"/>
              <a:gd name="T22" fmla="*/ 402 w 803"/>
              <a:gd name="T23" fmla="*/ 482 h 802"/>
              <a:gd name="T24" fmla="*/ 402 w 803"/>
              <a:gd name="T25" fmla="*/ 322 h 802"/>
              <a:gd name="T26" fmla="*/ 299 w 803"/>
              <a:gd name="T27" fmla="*/ 280 h 802"/>
              <a:gd name="T28" fmla="*/ 563 w 803"/>
              <a:gd name="T29" fmla="*/ 402 h 802"/>
              <a:gd name="T30" fmla="*/ 243 w 803"/>
              <a:gd name="T31" fmla="*/ 402 h 802"/>
              <a:gd name="T32" fmla="*/ 253 w 803"/>
              <a:gd name="T33" fmla="*/ 315 h 802"/>
              <a:gd name="T34" fmla="*/ 217 w 803"/>
              <a:gd name="T35" fmla="*/ 402 h 802"/>
              <a:gd name="T36" fmla="*/ 589 w 803"/>
              <a:gd name="T37" fmla="*/ 402 h 802"/>
              <a:gd name="T38" fmla="*/ 280 w 803"/>
              <a:gd name="T39" fmla="*/ 262 h 802"/>
              <a:gd name="T40" fmla="*/ 403 w 803"/>
              <a:gd name="T41" fmla="*/ 137 h 802"/>
              <a:gd name="T42" fmla="*/ 403 w 803"/>
              <a:gd name="T43" fmla="*/ 670 h 802"/>
              <a:gd name="T44" fmla="*/ 180 w 803"/>
              <a:gd name="T45" fmla="*/ 257 h 802"/>
              <a:gd name="T46" fmla="*/ 158 w 803"/>
              <a:gd name="T47" fmla="*/ 242 h 802"/>
              <a:gd name="T48" fmla="*/ 403 w 803"/>
              <a:gd name="T49" fmla="*/ 697 h 802"/>
              <a:gd name="T50" fmla="*/ 403 w 803"/>
              <a:gd name="T51" fmla="*/ 110 h 802"/>
              <a:gd name="T52" fmla="*/ 163 w 803"/>
              <a:gd name="T53" fmla="*/ 145 h 802"/>
              <a:gd name="T54" fmla="*/ 403 w 803"/>
              <a:gd name="T55" fmla="*/ 30 h 802"/>
              <a:gd name="T56" fmla="*/ 403 w 803"/>
              <a:gd name="T57" fmla="*/ 777 h 802"/>
              <a:gd name="T58" fmla="*/ 87 w 803"/>
              <a:gd name="T59" fmla="*/ 205 h 802"/>
              <a:gd name="T60" fmla="*/ 64 w 803"/>
              <a:gd name="T61" fmla="*/ 190 h 802"/>
              <a:gd name="T62" fmla="*/ 403 w 803"/>
              <a:gd name="T63" fmla="*/ 802 h 802"/>
              <a:gd name="T64" fmla="*/ 403 w 803"/>
              <a:gd name="T65" fmla="*/ 1 h 802"/>
              <a:gd name="T66" fmla="*/ 102 w 803"/>
              <a:gd name="T67" fmla="*/ 135 h 802"/>
              <a:gd name="T68" fmla="*/ 69 w 803"/>
              <a:gd name="T69" fmla="*/ 81 h 802"/>
              <a:gd name="T70" fmla="*/ 83 w 803"/>
              <a:gd name="T71" fmla="*/ 46 h 802"/>
              <a:gd name="T72" fmla="*/ 137 w 803"/>
              <a:gd name="T73" fmla="*/ 135 h 8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03" h="802">
                <a:moveTo>
                  <a:pt x="403" y="1"/>
                </a:moveTo>
                <a:cubicBezTo>
                  <a:pt x="314" y="1"/>
                  <a:pt x="228" y="31"/>
                  <a:pt x="159" y="85"/>
                </a:cubicBezTo>
                <a:lnTo>
                  <a:pt x="79" y="5"/>
                </a:lnTo>
                <a:cubicBezTo>
                  <a:pt x="75" y="1"/>
                  <a:pt x="69" y="0"/>
                  <a:pt x="64" y="2"/>
                </a:cubicBezTo>
                <a:cubicBezTo>
                  <a:pt x="59" y="5"/>
                  <a:pt x="55" y="10"/>
                  <a:pt x="55" y="15"/>
                </a:cubicBezTo>
                <a:lnTo>
                  <a:pt x="55" y="55"/>
                </a:lnTo>
                <a:lnTo>
                  <a:pt x="15" y="55"/>
                </a:lnTo>
                <a:cubicBezTo>
                  <a:pt x="10" y="55"/>
                  <a:pt x="5" y="59"/>
                  <a:pt x="3" y="63"/>
                </a:cubicBezTo>
                <a:cubicBezTo>
                  <a:pt x="0" y="68"/>
                  <a:pt x="2" y="75"/>
                  <a:pt x="5" y="78"/>
                </a:cubicBezTo>
                <a:lnTo>
                  <a:pt x="85" y="158"/>
                </a:lnTo>
                <a:cubicBezTo>
                  <a:pt x="88" y="161"/>
                  <a:pt x="92" y="162"/>
                  <a:pt x="95" y="162"/>
                </a:cubicBezTo>
                <a:lnTo>
                  <a:pt x="143" y="162"/>
                </a:lnTo>
                <a:lnTo>
                  <a:pt x="393" y="412"/>
                </a:lnTo>
                <a:cubicBezTo>
                  <a:pt x="395" y="415"/>
                  <a:pt x="399" y="416"/>
                  <a:pt x="403" y="416"/>
                </a:cubicBezTo>
                <a:cubicBezTo>
                  <a:pt x="407" y="416"/>
                  <a:pt x="409" y="415"/>
                  <a:pt x="413" y="412"/>
                </a:cubicBezTo>
                <a:cubicBezTo>
                  <a:pt x="418" y="407"/>
                  <a:pt x="418" y="398"/>
                  <a:pt x="413" y="393"/>
                </a:cubicBezTo>
                <a:lnTo>
                  <a:pt x="375" y="356"/>
                </a:lnTo>
                <a:cubicBezTo>
                  <a:pt x="383" y="351"/>
                  <a:pt x="392" y="348"/>
                  <a:pt x="403" y="348"/>
                </a:cubicBezTo>
                <a:cubicBezTo>
                  <a:pt x="433" y="348"/>
                  <a:pt x="457" y="372"/>
                  <a:pt x="457" y="402"/>
                </a:cubicBezTo>
                <a:cubicBezTo>
                  <a:pt x="457" y="432"/>
                  <a:pt x="433" y="456"/>
                  <a:pt x="403" y="456"/>
                </a:cubicBezTo>
                <a:cubicBezTo>
                  <a:pt x="373" y="456"/>
                  <a:pt x="349" y="432"/>
                  <a:pt x="349" y="402"/>
                </a:cubicBezTo>
                <a:cubicBezTo>
                  <a:pt x="349" y="395"/>
                  <a:pt x="343" y="388"/>
                  <a:pt x="335" y="388"/>
                </a:cubicBezTo>
                <a:cubicBezTo>
                  <a:pt x="328" y="388"/>
                  <a:pt x="322" y="395"/>
                  <a:pt x="322" y="402"/>
                </a:cubicBezTo>
                <a:cubicBezTo>
                  <a:pt x="322" y="446"/>
                  <a:pt x="358" y="482"/>
                  <a:pt x="402" y="482"/>
                </a:cubicBezTo>
                <a:cubicBezTo>
                  <a:pt x="445" y="482"/>
                  <a:pt x="482" y="446"/>
                  <a:pt x="482" y="402"/>
                </a:cubicBezTo>
                <a:cubicBezTo>
                  <a:pt x="482" y="358"/>
                  <a:pt x="445" y="322"/>
                  <a:pt x="402" y="322"/>
                </a:cubicBezTo>
                <a:cubicBezTo>
                  <a:pt x="384" y="322"/>
                  <a:pt x="368" y="327"/>
                  <a:pt x="355" y="336"/>
                </a:cubicBezTo>
                <a:lnTo>
                  <a:pt x="299" y="280"/>
                </a:lnTo>
                <a:cubicBezTo>
                  <a:pt x="328" y="255"/>
                  <a:pt x="364" y="242"/>
                  <a:pt x="403" y="242"/>
                </a:cubicBezTo>
                <a:cubicBezTo>
                  <a:pt x="492" y="242"/>
                  <a:pt x="563" y="313"/>
                  <a:pt x="563" y="402"/>
                </a:cubicBezTo>
                <a:cubicBezTo>
                  <a:pt x="563" y="491"/>
                  <a:pt x="492" y="562"/>
                  <a:pt x="403" y="562"/>
                </a:cubicBezTo>
                <a:cubicBezTo>
                  <a:pt x="314" y="562"/>
                  <a:pt x="243" y="491"/>
                  <a:pt x="243" y="402"/>
                </a:cubicBezTo>
                <a:cubicBezTo>
                  <a:pt x="243" y="379"/>
                  <a:pt x="248" y="355"/>
                  <a:pt x="259" y="332"/>
                </a:cubicBezTo>
                <a:cubicBezTo>
                  <a:pt x="263" y="326"/>
                  <a:pt x="259" y="317"/>
                  <a:pt x="253" y="315"/>
                </a:cubicBezTo>
                <a:cubicBezTo>
                  <a:pt x="247" y="311"/>
                  <a:pt x="238" y="315"/>
                  <a:pt x="235" y="321"/>
                </a:cubicBezTo>
                <a:cubicBezTo>
                  <a:pt x="223" y="347"/>
                  <a:pt x="217" y="375"/>
                  <a:pt x="217" y="402"/>
                </a:cubicBezTo>
                <a:cubicBezTo>
                  <a:pt x="217" y="505"/>
                  <a:pt x="300" y="588"/>
                  <a:pt x="403" y="588"/>
                </a:cubicBezTo>
                <a:cubicBezTo>
                  <a:pt x="505" y="588"/>
                  <a:pt x="589" y="505"/>
                  <a:pt x="589" y="402"/>
                </a:cubicBezTo>
                <a:cubicBezTo>
                  <a:pt x="589" y="300"/>
                  <a:pt x="505" y="216"/>
                  <a:pt x="403" y="216"/>
                </a:cubicBezTo>
                <a:cubicBezTo>
                  <a:pt x="358" y="216"/>
                  <a:pt x="314" y="232"/>
                  <a:pt x="280" y="262"/>
                </a:cubicBezTo>
                <a:lnTo>
                  <a:pt x="224" y="206"/>
                </a:lnTo>
                <a:cubicBezTo>
                  <a:pt x="273" y="161"/>
                  <a:pt x="337" y="137"/>
                  <a:pt x="403" y="137"/>
                </a:cubicBezTo>
                <a:cubicBezTo>
                  <a:pt x="550" y="137"/>
                  <a:pt x="669" y="257"/>
                  <a:pt x="669" y="404"/>
                </a:cubicBezTo>
                <a:cubicBezTo>
                  <a:pt x="669" y="550"/>
                  <a:pt x="549" y="670"/>
                  <a:pt x="403" y="670"/>
                </a:cubicBezTo>
                <a:cubicBezTo>
                  <a:pt x="255" y="670"/>
                  <a:pt x="137" y="550"/>
                  <a:pt x="137" y="404"/>
                </a:cubicBezTo>
                <a:cubicBezTo>
                  <a:pt x="137" y="351"/>
                  <a:pt x="152" y="301"/>
                  <a:pt x="180" y="257"/>
                </a:cubicBezTo>
                <a:cubicBezTo>
                  <a:pt x="184" y="251"/>
                  <a:pt x="183" y="242"/>
                  <a:pt x="177" y="239"/>
                </a:cubicBezTo>
                <a:cubicBezTo>
                  <a:pt x="170" y="235"/>
                  <a:pt x="162" y="236"/>
                  <a:pt x="158" y="242"/>
                </a:cubicBezTo>
                <a:cubicBezTo>
                  <a:pt x="127" y="290"/>
                  <a:pt x="109" y="346"/>
                  <a:pt x="109" y="404"/>
                </a:cubicBezTo>
                <a:cubicBezTo>
                  <a:pt x="109" y="565"/>
                  <a:pt x="240" y="697"/>
                  <a:pt x="403" y="697"/>
                </a:cubicBezTo>
                <a:cubicBezTo>
                  <a:pt x="565" y="697"/>
                  <a:pt x="697" y="566"/>
                  <a:pt x="697" y="404"/>
                </a:cubicBezTo>
                <a:cubicBezTo>
                  <a:pt x="697" y="241"/>
                  <a:pt x="565" y="110"/>
                  <a:pt x="403" y="110"/>
                </a:cubicBezTo>
                <a:cubicBezTo>
                  <a:pt x="329" y="110"/>
                  <a:pt x="259" y="137"/>
                  <a:pt x="205" y="187"/>
                </a:cubicBezTo>
                <a:lnTo>
                  <a:pt x="163" y="145"/>
                </a:lnTo>
                <a:lnTo>
                  <a:pt x="163" y="117"/>
                </a:lnTo>
                <a:cubicBezTo>
                  <a:pt x="230" y="61"/>
                  <a:pt x="315" y="30"/>
                  <a:pt x="403" y="30"/>
                </a:cubicBezTo>
                <a:cubicBezTo>
                  <a:pt x="609" y="30"/>
                  <a:pt x="777" y="197"/>
                  <a:pt x="777" y="404"/>
                </a:cubicBezTo>
                <a:cubicBezTo>
                  <a:pt x="777" y="610"/>
                  <a:pt x="609" y="777"/>
                  <a:pt x="403" y="777"/>
                </a:cubicBezTo>
                <a:cubicBezTo>
                  <a:pt x="197" y="777"/>
                  <a:pt x="29" y="610"/>
                  <a:pt x="29" y="404"/>
                </a:cubicBezTo>
                <a:cubicBezTo>
                  <a:pt x="29" y="334"/>
                  <a:pt x="49" y="265"/>
                  <a:pt x="87" y="205"/>
                </a:cubicBezTo>
                <a:cubicBezTo>
                  <a:pt x="90" y="199"/>
                  <a:pt x="89" y="190"/>
                  <a:pt x="83" y="186"/>
                </a:cubicBezTo>
                <a:cubicBezTo>
                  <a:pt x="77" y="182"/>
                  <a:pt x="68" y="184"/>
                  <a:pt x="64" y="190"/>
                </a:cubicBezTo>
                <a:cubicBezTo>
                  <a:pt x="24" y="254"/>
                  <a:pt x="3" y="327"/>
                  <a:pt x="3" y="402"/>
                </a:cubicBezTo>
                <a:cubicBezTo>
                  <a:pt x="3" y="622"/>
                  <a:pt x="183" y="802"/>
                  <a:pt x="403" y="802"/>
                </a:cubicBezTo>
                <a:cubicBezTo>
                  <a:pt x="623" y="802"/>
                  <a:pt x="803" y="622"/>
                  <a:pt x="803" y="402"/>
                </a:cubicBezTo>
                <a:cubicBezTo>
                  <a:pt x="803" y="181"/>
                  <a:pt x="623" y="1"/>
                  <a:pt x="403" y="1"/>
                </a:cubicBezTo>
                <a:close/>
                <a:moveTo>
                  <a:pt x="137" y="135"/>
                </a:moveTo>
                <a:lnTo>
                  <a:pt x="102" y="135"/>
                </a:lnTo>
                <a:lnTo>
                  <a:pt x="48" y="81"/>
                </a:lnTo>
                <a:lnTo>
                  <a:pt x="69" y="81"/>
                </a:lnTo>
                <a:cubicBezTo>
                  <a:pt x="77" y="81"/>
                  <a:pt x="83" y="75"/>
                  <a:pt x="83" y="67"/>
                </a:cubicBezTo>
                <a:lnTo>
                  <a:pt x="83" y="46"/>
                </a:lnTo>
                <a:lnTo>
                  <a:pt x="137" y="100"/>
                </a:lnTo>
                <a:lnTo>
                  <a:pt x="137" y="135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 w="0">
            <a:noFill/>
            <a:prstDash val="solid"/>
            <a:round/>
          </a:ln>
        </p:spPr>
        <p:txBody>
          <a:bodyPr vert="horz" wrap="square" lIns="91424" tIns="45712" rIns="91424" bIns="45712" numCol="1" anchor="t" anchorCtr="0" compatLnSpc="1"/>
          <a:lstStyle/>
          <a:p>
            <a:pPr defTabSz="913765"/>
            <a:endParaRPr lang="en-US" sz="1200">
              <a:solidFill>
                <a:prstClr val="black"/>
              </a:solidFill>
              <a:latin typeface="Questrial"/>
            </a:endParaRP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DEA9B2FF-5D90-20E6-B03D-F28B29ED509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60751" y="2523547"/>
            <a:ext cx="360339" cy="359945"/>
          </a:xfrm>
          <a:custGeom>
            <a:avLst/>
            <a:gdLst>
              <a:gd name="T0" fmla="*/ 480 w 800"/>
              <a:gd name="T1" fmla="*/ 240 h 800"/>
              <a:gd name="T2" fmla="*/ 426 w 800"/>
              <a:gd name="T3" fmla="*/ 494 h 800"/>
              <a:gd name="T4" fmla="*/ 399 w 800"/>
              <a:gd name="T5" fmla="*/ 494 h 800"/>
              <a:gd name="T6" fmla="*/ 412 w 800"/>
              <a:gd name="T7" fmla="*/ 214 h 800"/>
              <a:gd name="T8" fmla="*/ 506 w 800"/>
              <a:gd name="T9" fmla="*/ 228 h 800"/>
              <a:gd name="T10" fmla="*/ 492 w 800"/>
              <a:gd name="T11" fmla="*/ 428 h 800"/>
              <a:gd name="T12" fmla="*/ 604 w 800"/>
              <a:gd name="T13" fmla="*/ 529 h 800"/>
              <a:gd name="T14" fmla="*/ 632 w 800"/>
              <a:gd name="T15" fmla="*/ 576 h 800"/>
              <a:gd name="T16" fmla="*/ 652 w 800"/>
              <a:gd name="T17" fmla="*/ 576 h 800"/>
              <a:gd name="T18" fmla="*/ 624 w 800"/>
              <a:gd name="T19" fmla="*/ 529 h 800"/>
              <a:gd name="T20" fmla="*/ 102 w 800"/>
              <a:gd name="T21" fmla="*/ 190 h 800"/>
              <a:gd name="T22" fmla="*/ 54 w 800"/>
              <a:gd name="T23" fmla="*/ 319 h 800"/>
              <a:gd name="T24" fmla="*/ 586 w 800"/>
              <a:gd name="T25" fmla="*/ 319 h 800"/>
              <a:gd name="T26" fmla="*/ 400 w 800"/>
              <a:gd name="T27" fmla="*/ 79 h 800"/>
              <a:gd name="T28" fmla="*/ 559 w 800"/>
              <a:gd name="T29" fmla="*/ 319 h 800"/>
              <a:gd name="T30" fmla="*/ 79 w 800"/>
              <a:gd name="T31" fmla="*/ 319 h 800"/>
              <a:gd name="T32" fmla="*/ 102 w 800"/>
              <a:gd name="T33" fmla="*/ 190 h 800"/>
              <a:gd name="T34" fmla="*/ 294 w 800"/>
              <a:gd name="T35" fmla="*/ 520 h 800"/>
              <a:gd name="T36" fmla="*/ 347 w 800"/>
              <a:gd name="T37" fmla="*/ 26 h 800"/>
              <a:gd name="T38" fmla="*/ 361 w 800"/>
              <a:gd name="T39" fmla="*/ 534 h 800"/>
              <a:gd name="T40" fmla="*/ 375 w 800"/>
              <a:gd name="T41" fmla="*/ 14 h 800"/>
              <a:gd name="T42" fmla="*/ 281 w 800"/>
              <a:gd name="T43" fmla="*/ 0 h 800"/>
              <a:gd name="T44" fmla="*/ 267 w 800"/>
              <a:gd name="T45" fmla="*/ 520 h 800"/>
              <a:gd name="T46" fmla="*/ 226 w 800"/>
              <a:gd name="T47" fmla="*/ 106 h 800"/>
              <a:gd name="T48" fmla="*/ 132 w 800"/>
              <a:gd name="T49" fmla="*/ 120 h 800"/>
              <a:gd name="T50" fmla="*/ 146 w 800"/>
              <a:gd name="T51" fmla="*/ 428 h 800"/>
              <a:gd name="T52" fmla="*/ 160 w 800"/>
              <a:gd name="T53" fmla="*/ 134 h 800"/>
              <a:gd name="T54" fmla="*/ 214 w 800"/>
              <a:gd name="T55" fmla="*/ 494 h 800"/>
              <a:gd name="T56" fmla="*/ 241 w 800"/>
              <a:gd name="T57" fmla="*/ 494 h 800"/>
              <a:gd name="T58" fmla="*/ 226 w 800"/>
              <a:gd name="T59" fmla="*/ 106 h 800"/>
              <a:gd name="T60" fmla="*/ 686 w 800"/>
              <a:gd name="T61" fmla="*/ 592 h 800"/>
              <a:gd name="T62" fmla="*/ 676 w 800"/>
              <a:gd name="T63" fmla="*/ 589 h 800"/>
              <a:gd name="T64" fmla="*/ 629 w 800"/>
              <a:gd name="T65" fmla="*/ 630 h 800"/>
              <a:gd name="T66" fmla="*/ 648 w 800"/>
              <a:gd name="T67" fmla="*/ 649 h 800"/>
              <a:gd name="T68" fmla="*/ 760 w 800"/>
              <a:gd name="T69" fmla="*/ 704 h 800"/>
              <a:gd name="T70" fmla="*/ 760 w 800"/>
              <a:gd name="T71" fmla="*/ 761 h 800"/>
              <a:gd name="T72" fmla="*/ 546 w 800"/>
              <a:gd name="T73" fmla="*/ 604 h 800"/>
              <a:gd name="T74" fmla="*/ 528 w 800"/>
              <a:gd name="T75" fmla="*/ 622 h 800"/>
              <a:gd name="T76" fmla="*/ 732 w 800"/>
              <a:gd name="T77" fmla="*/ 800 h 800"/>
              <a:gd name="T78" fmla="*/ 800 w 800"/>
              <a:gd name="T79" fmla="*/ 732 h 800"/>
              <a:gd name="T80" fmla="*/ 640 w 800"/>
              <a:gd name="T81" fmla="*/ 320 h 800"/>
              <a:gd name="T82" fmla="*/ 401 w 800"/>
              <a:gd name="T83" fmla="*/ 24 h 800"/>
              <a:gd name="T84" fmla="*/ 614 w 800"/>
              <a:gd name="T85" fmla="*/ 320 h 800"/>
              <a:gd name="T86" fmla="*/ 26 w 800"/>
              <a:gd name="T87" fmla="*/ 320 h 800"/>
              <a:gd name="T88" fmla="*/ 239 w 800"/>
              <a:gd name="T89" fmla="*/ 24 h 800"/>
              <a:gd name="T90" fmla="*/ 0 w 800"/>
              <a:gd name="T91" fmla="*/ 320 h 800"/>
              <a:gd name="T92" fmla="*/ 640 w 800"/>
              <a:gd name="T93" fmla="*/ 320 h 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800" h="800">
                <a:moveTo>
                  <a:pt x="480" y="414"/>
                </a:moveTo>
                <a:lnTo>
                  <a:pt x="480" y="240"/>
                </a:lnTo>
                <a:lnTo>
                  <a:pt x="426" y="240"/>
                </a:lnTo>
                <a:lnTo>
                  <a:pt x="426" y="494"/>
                </a:lnTo>
                <a:cubicBezTo>
                  <a:pt x="426" y="501"/>
                  <a:pt x="420" y="508"/>
                  <a:pt x="412" y="508"/>
                </a:cubicBezTo>
                <a:cubicBezTo>
                  <a:pt x="405" y="508"/>
                  <a:pt x="399" y="501"/>
                  <a:pt x="399" y="494"/>
                </a:cubicBezTo>
                <a:lnTo>
                  <a:pt x="399" y="228"/>
                </a:lnTo>
                <a:cubicBezTo>
                  <a:pt x="399" y="220"/>
                  <a:pt x="405" y="214"/>
                  <a:pt x="412" y="214"/>
                </a:cubicBezTo>
                <a:lnTo>
                  <a:pt x="492" y="214"/>
                </a:lnTo>
                <a:cubicBezTo>
                  <a:pt x="500" y="214"/>
                  <a:pt x="506" y="220"/>
                  <a:pt x="506" y="228"/>
                </a:cubicBezTo>
                <a:lnTo>
                  <a:pt x="506" y="414"/>
                </a:lnTo>
                <a:cubicBezTo>
                  <a:pt x="506" y="421"/>
                  <a:pt x="500" y="428"/>
                  <a:pt x="492" y="428"/>
                </a:cubicBezTo>
                <a:cubicBezTo>
                  <a:pt x="486" y="426"/>
                  <a:pt x="480" y="421"/>
                  <a:pt x="480" y="414"/>
                </a:cubicBezTo>
                <a:close/>
                <a:moveTo>
                  <a:pt x="604" y="529"/>
                </a:moveTo>
                <a:cubicBezTo>
                  <a:pt x="599" y="534"/>
                  <a:pt x="599" y="543"/>
                  <a:pt x="604" y="547"/>
                </a:cubicBezTo>
                <a:lnTo>
                  <a:pt x="632" y="576"/>
                </a:lnTo>
                <a:cubicBezTo>
                  <a:pt x="635" y="579"/>
                  <a:pt x="639" y="580"/>
                  <a:pt x="642" y="580"/>
                </a:cubicBezTo>
                <a:cubicBezTo>
                  <a:pt x="646" y="580"/>
                  <a:pt x="649" y="579"/>
                  <a:pt x="652" y="576"/>
                </a:cubicBezTo>
                <a:cubicBezTo>
                  <a:pt x="657" y="571"/>
                  <a:pt x="657" y="562"/>
                  <a:pt x="652" y="558"/>
                </a:cubicBezTo>
                <a:lnTo>
                  <a:pt x="624" y="529"/>
                </a:lnTo>
                <a:cubicBezTo>
                  <a:pt x="617" y="522"/>
                  <a:pt x="609" y="522"/>
                  <a:pt x="604" y="529"/>
                </a:cubicBezTo>
                <a:close/>
                <a:moveTo>
                  <a:pt x="102" y="190"/>
                </a:moveTo>
                <a:cubicBezTo>
                  <a:pt x="96" y="186"/>
                  <a:pt x="87" y="189"/>
                  <a:pt x="85" y="195"/>
                </a:cubicBezTo>
                <a:cubicBezTo>
                  <a:pt x="65" y="232"/>
                  <a:pt x="54" y="276"/>
                  <a:pt x="54" y="319"/>
                </a:cubicBezTo>
                <a:cubicBezTo>
                  <a:pt x="54" y="466"/>
                  <a:pt x="174" y="585"/>
                  <a:pt x="320" y="585"/>
                </a:cubicBezTo>
                <a:cubicBezTo>
                  <a:pt x="467" y="585"/>
                  <a:pt x="586" y="465"/>
                  <a:pt x="586" y="319"/>
                </a:cubicBezTo>
                <a:cubicBezTo>
                  <a:pt x="586" y="209"/>
                  <a:pt x="520" y="111"/>
                  <a:pt x="417" y="71"/>
                </a:cubicBezTo>
                <a:cubicBezTo>
                  <a:pt x="411" y="69"/>
                  <a:pt x="402" y="72"/>
                  <a:pt x="400" y="79"/>
                </a:cubicBezTo>
                <a:cubicBezTo>
                  <a:pt x="397" y="85"/>
                  <a:pt x="401" y="94"/>
                  <a:pt x="407" y="96"/>
                </a:cubicBezTo>
                <a:cubicBezTo>
                  <a:pt x="500" y="132"/>
                  <a:pt x="559" y="220"/>
                  <a:pt x="559" y="319"/>
                </a:cubicBezTo>
                <a:cubicBezTo>
                  <a:pt x="559" y="451"/>
                  <a:pt x="451" y="559"/>
                  <a:pt x="319" y="559"/>
                </a:cubicBezTo>
                <a:cubicBezTo>
                  <a:pt x="186" y="559"/>
                  <a:pt x="79" y="451"/>
                  <a:pt x="79" y="319"/>
                </a:cubicBezTo>
                <a:cubicBezTo>
                  <a:pt x="79" y="280"/>
                  <a:pt x="89" y="241"/>
                  <a:pt x="106" y="207"/>
                </a:cubicBezTo>
                <a:cubicBezTo>
                  <a:pt x="111" y="201"/>
                  <a:pt x="109" y="194"/>
                  <a:pt x="102" y="190"/>
                </a:cubicBezTo>
                <a:close/>
                <a:moveTo>
                  <a:pt x="280" y="534"/>
                </a:moveTo>
                <a:cubicBezTo>
                  <a:pt x="287" y="534"/>
                  <a:pt x="294" y="527"/>
                  <a:pt x="294" y="520"/>
                </a:cubicBezTo>
                <a:lnTo>
                  <a:pt x="294" y="26"/>
                </a:lnTo>
                <a:lnTo>
                  <a:pt x="347" y="26"/>
                </a:lnTo>
                <a:lnTo>
                  <a:pt x="347" y="520"/>
                </a:lnTo>
                <a:cubicBezTo>
                  <a:pt x="347" y="527"/>
                  <a:pt x="354" y="534"/>
                  <a:pt x="361" y="534"/>
                </a:cubicBezTo>
                <a:cubicBezTo>
                  <a:pt x="369" y="534"/>
                  <a:pt x="375" y="527"/>
                  <a:pt x="375" y="520"/>
                </a:cubicBezTo>
                <a:lnTo>
                  <a:pt x="375" y="14"/>
                </a:lnTo>
                <a:cubicBezTo>
                  <a:pt x="375" y="6"/>
                  <a:pt x="369" y="0"/>
                  <a:pt x="361" y="0"/>
                </a:cubicBezTo>
                <a:lnTo>
                  <a:pt x="281" y="0"/>
                </a:lnTo>
                <a:cubicBezTo>
                  <a:pt x="274" y="0"/>
                  <a:pt x="267" y="6"/>
                  <a:pt x="267" y="14"/>
                </a:cubicBezTo>
                <a:lnTo>
                  <a:pt x="267" y="520"/>
                </a:lnTo>
                <a:cubicBezTo>
                  <a:pt x="266" y="527"/>
                  <a:pt x="272" y="534"/>
                  <a:pt x="280" y="534"/>
                </a:cubicBezTo>
                <a:close/>
                <a:moveTo>
                  <a:pt x="226" y="106"/>
                </a:moveTo>
                <a:lnTo>
                  <a:pt x="146" y="106"/>
                </a:lnTo>
                <a:cubicBezTo>
                  <a:pt x="139" y="106"/>
                  <a:pt x="132" y="112"/>
                  <a:pt x="132" y="120"/>
                </a:cubicBezTo>
                <a:lnTo>
                  <a:pt x="132" y="414"/>
                </a:lnTo>
                <a:cubicBezTo>
                  <a:pt x="132" y="421"/>
                  <a:pt x="139" y="428"/>
                  <a:pt x="146" y="428"/>
                </a:cubicBezTo>
                <a:cubicBezTo>
                  <a:pt x="154" y="428"/>
                  <a:pt x="160" y="421"/>
                  <a:pt x="160" y="414"/>
                </a:cubicBezTo>
                <a:lnTo>
                  <a:pt x="160" y="134"/>
                </a:lnTo>
                <a:lnTo>
                  <a:pt x="214" y="134"/>
                </a:lnTo>
                <a:lnTo>
                  <a:pt x="214" y="494"/>
                </a:lnTo>
                <a:cubicBezTo>
                  <a:pt x="214" y="501"/>
                  <a:pt x="220" y="508"/>
                  <a:pt x="227" y="508"/>
                </a:cubicBezTo>
                <a:cubicBezTo>
                  <a:pt x="235" y="508"/>
                  <a:pt x="241" y="501"/>
                  <a:pt x="241" y="494"/>
                </a:cubicBezTo>
                <a:lnTo>
                  <a:pt x="241" y="120"/>
                </a:lnTo>
                <a:cubicBezTo>
                  <a:pt x="240" y="112"/>
                  <a:pt x="234" y="106"/>
                  <a:pt x="226" y="106"/>
                </a:cubicBezTo>
                <a:close/>
                <a:moveTo>
                  <a:pt x="780" y="686"/>
                </a:moveTo>
                <a:lnTo>
                  <a:pt x="686" y="592"/>
                </a:lnTo>
                <a:cubicBezTo>
                  <a:pt x="684" y="590"/>
                  <a:pt x="680" y="589"/>
                  <a:pt x="676" y="589"/>
                </a:cubicBezTo>
                <a:lnTo>
                  <a:pt x="676" y="589"/>
                </a:lnTo>
                <a:cubicBezTo>
                  <a:pt x="673" y="589"/>
                  <a:pt x="669" y="590"/>
                  <a:pt x="666" y="592"/>
                </a:cubicBezTo>
                <a:lnTo>
                  <a:pt x="629" y="630"/>
                </a:lnTo>
                <a:cubicBezTo>
                  <a:pt x="624" y="635"/>
                  <a:pt x="624" y="644"/>
                  <a:pt x="629" y="649"/>
                </a:cubicBezTo>
                <a:cubicBezTo>
                  <a:pt x="634" y="654"/>
                  <a:pt x="643" y="654"/>
                  <a:pt x="648" y="649"/>
                </a:cubicBezTo>
                <a:lnTo>
                  <a:pt x="676" y="620"/>
                </a:lnTo>
                <a:lnTo>
                  <a:pt x="760" y="704"/>
                </a:lnTo>
                <a:cubicBezTo>
                  <a:pt x="768" y="711"/>
                  <a:pt x="771" y="721"/>
                  <a:pt x="771" y="732"/>
                </a:cubicBezTo>
                <a:cubicBezTo>
                  <a:pt x="771" y="744"/>
                  <a:pt x="768" y="754"/>
                  <a:pt x="760" y="761"/>
                </a:cubicBezTo>
                <a:cubicBezTo>
                  <a:pt x="745" y="776"/>
                  <a:pt x="719" y="776"/>
                  <a:pt x="704" y="761"/>
                </a:cubicBezTo>
                <a:lnTo>
                  <a:pt x="546" y="604"/>
                </a:lnTo>
                <a:cubicBezTo>
                  <a:pt x="541" y="599"/>
                  <a:pt x="532" y="599"/>
                  <a:pt x="528" y="604"/>
                </a:cubicBezTo>
                <a:cubicBezTo>
                  <a:pt x="523" y="609"/>
                  <a:pt x="523" y="617"/>
                  <a:pt x="528" y="622"/>
                </a:cubicBezTo>
                <a:lnTo>
                  <a:pt x="685" y="780"/>
                </a:lnTo>
                <a:cubicBezTo>
                  <a:pt x="698" y="792"/>
                  <a:pt x="715" y="800"/>
                  <a:pt x="732" y="800"/>
                </a:cubicBezTo>
                <a:cubicBezTo>
                  <a:pt x="750" y="800"/>
                  <a:pt x="766" y="794"/>
                  <a:pt x="780" y="780"/>
                </a:cubicBezTo>
                <a:cubicBezTo>
                  <a:pt x="792" y="767"/>
                  <a:pt x="800" y="751"/>
                  <a:pt x="800" y="732"/>
                </a:cubicBezTo>
                <a:cubicBezTo>
                  <a:pt x="800" y="715"/>
                  <a:pt x="792" y="699"/>
                  <a:pt x="780" y="686"/>
                </a:cubicBezTo>
                <a:close/>
                <a:moveTo>
                  <a:pt x="640" y="320"/>
                </a:moveTo>
                <a:cubicBezTo>
                  <a:pt x="640" y="180"/>
                  <a:pt x="550" y="58"/>
                  <a:pt x="418" y="15"/>
                </a:cubicBezTo>
                <a:cubicBezTo>
                  <a:pt x="410" y="13"/>
                  <a:pt x="403" y="16"/>
                  <a:pt x="401" y="24"/>
                </a:cubicBezTo>
                <a:cubicBezTo>
                  <a:pt x="399" y="31"/>
                  <a:pt x="403" y="39"/>
                  <a:pt x="410" y="40"/>
                </a:cubicBezTo>
                <a:cubicBezTo>
                  <a:pt x="533" y="79"/>
                  <a:pt x="614" y="191"/>
                  <a:pt x="614" y="320"/>
                </a:cubicBezTo>
                <a:cubicBezTo>
                  <a:pt x="614" y="481"/>
                  <a:pt x="483" y="614"/>
                  <a:pt x="320" y="614"/>
                </a:cubicBezTo>
                <a:cubicBezTo>
                  <a:pt x="159" y="614"/>
                  <a:pt x="26" y="483"/>
                  <a:pt x="26" y="320"/>
                </a:cubicBezTo>
                <a:cubicBezTo>
                  <a:pt x="26" y="191"/>
                  <a:pt x="109" y="80"/>
                  <a:pt x="230" y="40"/>
                </a:cubicBezTo>
                <a:cubicBezTo>
                  <a:pt x="238" y="38"/>
                  <a:pt x="241" y="30"/>
                  <a:pt x="239" y="24"/>
                </a:cubicBezTo>
                <a:cubicBezTo>
                  <a:pt x="236" y="16"/>
                  <a:pt x="229" y="13"/>
                  <a:pt x="223" y="15"/>
                </a:cubicBezTo>
                <a:cubicBezTo>
                  <a:pt x="89" y="58"/>
                  <a:pt x="0" y="180"/>
                  <a:pt x="0" y="320"/>
                </a:cubicBezTo>
                <a:cubicBezTo>
                  <a:pt x="0" y="496"/>
                  <a:pt x="144" y="640"/>
                  <a:pt x="320" y="640"/>
                </a:cubicBezTo>
                <a:cubicBezTo>
                  <a:pt x="496" y="640"/>
                  <a:pt x="640" y="496"/>
                  <a:pt x="640" y="320"/>
                </a:cubicBezTo>
                <a:close/>
              </a:path>
            </a:pathLst>
          </a:custGeom>
          <a:solidFill>
            <a:schemeClr val="tx2">
              <a:lumMod val="50000"/>
            </a:schemeClr>
          </a:solidFill>
          <a:ln w="0">
            <a:noFill/>
            <a:prstDash val="solid"/>
            <a:round/>
          </a:ln>
        </p:spPr>
        <p:txBody>
          <a:bodyPr vert="horz" wrap="square" lIns="91424" tIns="45712" rIns="91424" bIns="45712" numCol="1" anchor="t" anchorCtr="0" compatLnSpc="1"/>
          <a:lstStyle/>
          <a:p>
            <a:pPr defTabSz="913765"/>
            <a:endParaRPr lang="en-US" sz="1200">
              <a:solidFill>
                <a:prstClr val="black"/>
              </a:solidFill>
              <a:latin typeface="Questrial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D1934D12-623E-F92E-E5BD-3657573A9B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72758" y="2073463"/>
            <a:ext cx="6428509" cy="3381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2504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3000"/>
    </mc:Choice>
    <mc:Fallback xmlns="">
      <p:transition advTm="3000"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ABA6E4-96B0-475A-66F5-E32ECC8EC9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AC411ADF-C70A-AF87-35F8-479B848DD7A5}"/>
              </a:ext>
            </a:extLst>
          </p:cNvPr>
          <p:cNvSpPr txBox="1"/>
          <p:nvPr/>
        </p:nvSpPr>
        <p:spPr>
          <a:xfrm>
            <a:off x="1714365" y="4160027"/>
            <a:ext cx="3399367" cy="848953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自研模型</a:t>
            </a:r>
            <a:r>
              <a:rPr lang="en-US" altLang="zh-CN" sz="1400" dirty="0" err="1">
                <a:solidFill>
                  <a:schemeClr val="bg2">
                    <a:lumMod val="75000"/>
                  </a:schemeClr>
                </a:solidFill>
              </a:rPr>
              <a:t>Hunyuan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性能落后，整体生成能力受限；</a:t>
            </a:r>
            <a:b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视频生成时长仅限于</a:t>
            </a: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5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秒，不适合长视频场景。</a:t>
            </a:r>
            <a:endParaRPr lang="en-US" altLang="zh-CN" sz="1400" dirty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现接入</a:t>
            </a: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deepseeR1,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自研比例可能下降</a:t>
            </a:r>
            <a:endParaRPr lang="en-US" altLang="zh-CN" sz="14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35CA9BD5-7159-F822-3F69-0194DD7D2954}"/>
              </a:ext>
            </a:extLst>
          </p:cNvPr>
          <p:cNvSpPr txBox="1"/>
          <p:nvPr/>
        </p:nvSpPr>
        <p:spPr>
          <a:xfrm>
            <a:off x="1295466" y="1072312"/>
            <a:ext cx="4053651" cy="330149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3600" b="1" dirty="0">
                <a:solidFill>
                  <a:srgbClr val="404040"/>
                </a:solidFill>
                <a:latin typeface="Inter"/>
              </a:rPr>
              <a:t>腾讯元宝（混元）</a:t>
            </a:r>
            <a:endParaRPr lang="en-US" sz="3600" b="1" dirty="0">
              <a:solidFill>
                <a:srgbClr val="404040"/>
              </a:solidFill>
              <a:latin typeface="Inter"/>
            </a:endParaRPr>
          </a:p>
        </p:txBody>
      </p:sp>
      <p:sp>
        <p:nvSpPr>
          <p:cNvPr id="5" name="Text Placeholder 13">
            <a:extLst>
              <a:ext uri="{FF2B5EF4-FFF2-40B4-BE49-F238E27FC236}">
                <a16:creationId xmlns:a16="http://schemas.microsoft.com/office/drawing/2014/main" id="{9C496EEA-84E4-F50C-98F4-34CAB87809A8}"/>
              </a:ext>
            </a:extLst>
          </p:cNvPr>
          <p:cNvSpPr txBox="1"/>
          <p:nvPr/>
        </p:nvSpPr>
        <p:spPr>
          <a:xfrm>
            <a:off x="1714365" y="3859423"/>
            <a:ext cx="3399367" cy="507923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500" dirty="0"/>
              <a:t>缺点</a:t>
            </a:r>
            <a:endParaRPr lang="en-US" sz="1500" dirty="0"/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EF48B612-4F14-5750-CE88-87DF7AE513F2}"/>
              </a:ext>
            </a:extLst>
          </p:cNvPr>
          <p:cNvSpPr txBox="1"/>
          <p:nvPr/>
        </p:nvSpPr>
        <p:spPr>
          <a:xfrm>
            <a:off x="1717533" y="2623856"/>
            <a:ext cx="3399367" cy="848953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深度绑定微信生态，便于公众号、社交平台内容管理；</a:t>
            </a:r>
            <a:b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公众号内容的</a:t>
            </a: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RAG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（检索增强生成）响应速度快，适用于内容推荐。</a:t>
            </a:r>
            <a:endParaRPr lang="en-US" sz="14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B37B8035-6388-787E-54FB-443BB08F04A1}"/>
              </a:ext>
            </a:extLst>
          </p:cNvPr>
          <p:cNvSpPr txBox="1"/>
          <p:nvPr/>
        </p:nvSpPr>
        <p:spPr>
          <a:xfrm>
            <a:off x="1717533" y="2375568"/>
            <a:ext cx="3399367" cy="507923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500" dirty="0"/>
              <a:t>优点</a:t>
            </a:r>
            <a:endParaRPr lang="en-US" sz="1500" dirty="0"/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885EA899-DE11-7839-DDE7-4CD843F5BBC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60081" y="4007403"/>
            <a:ext cx="360671" cy="359945"/>
          </a:xfrm>
          <a:custGeom>
            <a:avLst/>
            <a:gdLst>
              <a:gd name="T0" fmla="*/ 159 w 803"/>
              <a:gd name="T1" fmla="*/ 85 h 802"/>
              <a:gd name="T2" fmla="*/ 64 w 803"/>
              <a:gd name="T3" fmla="*/ 2 h 802"/>
              <a:gd name="T4" fmla="*/ 55 w 803"/>
              <a:gd name="T5" fmla="*/ 55 h 802"/>
              <a:gd name="T6" fmla="*/ 3 w 803"/>
              <a:gd name="T7" fmla="*/ 63 h 802"/>
              <a:gd name="T8" fmla="*/ 85 w 803"/>
              <a:gd name="T9" fmla="*/ 158 h 802"/>
              <a:gd name="T10" fmla="*/ 143 w 803"/>
              <a:gd name="T11" fmla="*/ 162 h 802"/>
              <a:gd name="T12" fmla="*/ 403 w 803"/>
              <a:gd name="T13" fmla="*/ 416 h 802"/>
              <a:gd name="T14" fmla="*/ 413 w 803"/>
              <a:gd name="T15" fmla="*/ 393 h 802"/>
              <a:gd name="T16" fmla="*/ 403 w 803"/>
              <a:gd name="T17" fmla="*/ 348 h 802"/>
              <a:gd name="T18" fmla="*/ 403 w 803"/>
              <a:gd name="T19" fmla="*/ 456 h 802"/>
              <a:gd name="T20" fmla="*/ 335 w 803"/>
              <a:gd name="T21" fmla="*/ 388 h 802"/>
              <a:gd name="T22" fmla="*/ 402 w 803"/>
              <a:gd name="T23" fmla="*/ 482 h 802"/>
              <a:gd name="T24" fmla="*/ 402 w 803"/>
              <a:gd name="T25" fmla="*/ 322 h 802"/>
              <a:gd name="T26" fmla="*/ 299 w 803"/>
              <a:gd name="T27" fmla="*/ 280 h 802"/>
              <a:gd name="T28" fmla="*/ 563 w 803"/>
              <a:gd name="T29" fmla="*/ 402 h 802"/>
              <a:gd name="T30" fmla="*/ 243 w 803"/>
              <a:gd name="T31" fmla="*/ 402 h 802"/>
              <a:gd name="T32" fmla="*/ 253 w 803"/>
              <a:gd name="T33" fmla="*/ 315 h 802"/>
              <a:gd name="T34" fmla="*/ 217 w 803"/>
              <a:gd name="T35" fmla="*/ 402 h 802"/>
              <a:gd name="T36" fmla="*/ 589 w 803"/>
              <a:gd name="T37" fmla="*/ 402 h 802"/>
              <a:gd name="T38" fmla="*/ 280 w 803"/>
              <a:gd name="T39" fmla="*/ 262 h 802"/>
              <a:gd name="T40" fmla="*/ 403 w 803"/>
              <a:gd name="T41" fmla="*/ 137 h 802"/>
              <a:gd name="T42" fmla="*/ 403 w 803"/>
              <a:gd name="T43" fmla="*/ 670 h 802"/>
              <a:gd name="T44" fmla="*/ 180 w 803"/>
              <a:gd name="T45" fmla="*/ 257 h 802"/>
              <a:gd name="T46" fmla="*/ 158 w 803"/>
              <a:gd name="T47" fmla="*/ 242 h 802"/>
              <a:gd name="T48" fmla="*/ 403 w 803"/>
              <a:gd name="T49" fmla="*/ 697 h 802"/>
              <a:gd name="T50" fmla="*/ 403 w 803"/>
              <a:gd name="T51" fmla="*/ 110 h 802"/>
              <a:gd name="T52" fmla="*/ 163 w 803"/>
              <a:gd name="T53" fmla="*/ 145 h 802"/>
              <a:gd name="T54" fmla="*/ 403 w 803"/>
              <a:gd name="T55" fmla="*/ 30 h 802"/>
              <a:gd name="T56" fmla="*/ 403 w 803"/>
              <a:gd name="T57" fmla="*/ 777 h 802"/>
              <a:gd name="T58" fmla="*/ 87 w 803"/>
              <a:gd name="T59" fmla="*/ 205 h 802"/>
              <a:gd name="T60" fmla="*/ 64 w 803"/>
              <a:gd name="T61" fmla="*/ 190 h 802"/>
              <a:gd name="T62" fmla="*/ 403 w 803"/>
              <a:gd name="T63" fmla="*/ 802 h 802"/>
              <a:gd name="T64" fmla="*/ 403 w 803"/>
              <a:gd name="T65" fmla="*/ 1 h 802"/>
              <a:gd name="T66" fmla="*/ 102 w 803"/>
              <a:gd name="T67" fmla="*/ 135 h 802"/>
              <a:gd name="T68" fmla="*/ 69 w 803"/>
              <a:gd name="T69" fmla="*/ 81 h 802"/>
              <a:gd name="T70" fmla="*/ 83 w 803"/>
              <a:gd name="T71" fmla="*/ 46 h 802"/>
              <a:gd name="T72" fmla="*/ 137 w 803"/>
              <a:gd name="T73" fmla="*/ 135 h 8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03" h="802">
                <a:moveTo>
                  <a:pt x="403" y="1"/>
                </a:moveTo>
                <a:cubicBezTo>
                  <a:pt x="314" y="1"/>
                  <a:pt x="228" y="31"/>
                  <a:pt x="159" y="85"/>
                </a:cubicBezTo>
                <a:lnTo>
                  <a:pt x="79" y="5"/>
                </a:lnTo>
                <a:cubicBezTo>
                  <a:pt x="75" y="1"/>
                  <a:pt x="69" y="0"/>
                  <a:pt x="64" y="2"/>
                </a:cubicBezTo>
                <a:cubicBezTo>
                  <a:pt x="59" y="5"/>
                  <a:pt x="55" y="10"/>
                  <a:pt x="55" y="15"/>
                </a:cubicBezTo>
                <a:lnTo>
                  <a:pt x="55" y="55"/>
                </a:lnTo>
                <a:lnTo>
                  <a:pt x="15" y="55"/>
                </a:lnTo>
                <a:cubicBezTo>
                  <a:pt x="10" y="55"/>
                  <a:pt x="5" y="59"/>
                  <a:pt x="3" y="63"/>
                </a:cubicBezTo>
                <a:cubicBezTo>
                  <a:pt x="0" y="68"/>
                  <a:pt x="2" y="75"/>
                  <a:pt x="5" y="78"/>
                </a:cubicBezTo>
                <a:lnTo>
                  <a:pt x="85" y="158"/>
                </a:lnTo>
                <a:cubicBezTo>
                  <a:pt x="88" y="161"/>
                  <a:pt x="92" y="162"/>
                  <a:pt x="95" y="162"/>
                </a:cubicBezTo>
                <a:lnTo>
                  <a:pt x="143" y="162"/>
                </a:lnTo>
                <a:lnTo>
                  <a:pt x="393" y="412"/>
                </a:lnTo>
                <a:cubicBezTo>
                  <a:pt x="395" y="415"/>
                  <a:pt x="399" y="416"/>
                  <a:pt x="403" y="416"/>
                </a:cubicBezTo>
                <a:cubicBezTo>
                  <a:pt x="407" y="416"/>
                  <a:pt x="409" y="415"/>
                  <a:pt x="413" y="412"/>
                </a:cubicBezTo>
                <a:cubicBezTo>
                  <a:pt x="418" y="407"/>
                  <a:pt x="418" y="398"/>
                  <a:pt x="413" y="393"/>
                </a:cubicBezTo>
                <a:lnTo>
                  <a:pt x="375" y="356"/>
                </a:lnTo>
                <a:cubicBezTo>
                  <a:pt x="383" y="351"/>
                  <a:pt x="392" y="348"/>
                  <a:pt x="403" y="348"/>
                </a:cubicBezTo>
                <a:cubicBezTo>
                  <a:pt x="433" y="348"/>
                  <a:pt x="457" y="372"/>
                  <a:pt x="457" y="402"/>
                </a:cubicBezTo>
                <a:cubicBezTo>
                  <a:pt x="457" y="432"/>
                  <a:pt x="433" y="456"/>
                  <a:pt x="403" y="456"/>
                </a:cubicBezTo>
                <a:cubicBezTo>
                  <a:pt x="373" y="456"/>
                  <a:pt x="349" y="432"/>
                  <a:pt x="349" y="402"/>
                </a:cubicBezTo>
                <a:cubicBezTo>
                  <a:pt x="349" y="395"/>
                  <a:pt x="343" y="388"/>
                  <a:pt x="335" y="388"/>
                </a:cubicBezTo>
                <a:cubicBezTo>
                  <a:pt x="328" y="388"/>
                  <a:pt x="322" y="395"/>
                  <a:pt x="322" y="402"/>
                </a:cubicBezTo>
                <a:cubicBezTo>
                  <a:pt x="322" y="446"/>
                  <a:pt x="358" y="482"/>
                  <a:pt x="402" y="482"/>
                </a:cubicBezTo>
                <a:cubicBezTo>
                  <a:pt x="445" y="482"/>
                  <a:pt x="482" y="446"/>
                  <a:pt x="482" y="402"/>
                </a:cubicBezTo>
                <a:cubicBezTo>
                  <a:pt x="482" y="358"/>
                  <a:pt x="445" y="322"/>
                  <a:pt x="402" y="322"/>
                </a:cubicBezTo>
                <a:cubicBezTo>
                  <a:pt x="384" y="322"/>
                  <a:pt x="368" y="327"/>
                  <a:pt x="355" y="336"/>
                </a:cubicBezTo>
                <a:lnTo>
                  <a:pt x="299" y="280"/>
                </a:lnTo>
                <a:cubicBezTo>
                  <a:pt x="328" y="255"/>
                  <a:pt x="364" y="242"/>
                  <a:pt x="403" y="242"/>
                </a:cubicBezTo>
                <a:cubicBezTo>
                  <a:pt x="492" y="242"/>
                  <a:pt x="563" y="313"/>
                  <a:pt x="563" y="402"/>
                </a:cubicBezTo>
                <a:cubicBezTo>
                  <a:pt x="563" y="491"/>
                  <a:pt x="492" y="562"/>
                  <a:pt x="403" y="562"/>
                </a:cubicBezTo>
                <a:cubicBezTo>
                  <a:pt x="314" y="562"/>
                  <a:pt x="243" y="491"/>
                  <a:pt x="243" y="402"/>
                </a:cubicBezTo>
                <a:cubicBezTo>
                  <a:pt x="243" y="379"/>
                  <a:pt x="248" y="355"/>
                  <a:pt x="259" y="332"/>
                </a:cubicBezTo>
                <a:cubicBezTo>
                  <a:pt x="263" y="326"/>
                  <a:pt x="259" y="317"/>
                  <a:pt x="253" y="315"/>
                </a:cubicBezTo>
                <a:cubicBezTo>
                  <a:pt x="247" y="311"/>
                  <a:pt x="238" y="315"/>
                  <a:pt x="235" y="321"/>
                </a:cubicBezTo>
                <a:cubicBezTo>
                  <a:pt x="223" y="347"/>
                  <a:pt x="217" y="375"/>
                  <a:pt x="217" y="402"/>
                </a:cubicBezTo>
                <a:cubicBezTo>
                  <a:pt x="217" y="505"/>
                  <a:pt x="300" y="588"/>
                  <a:pt x="403" y="588"/>
                </a:cubicBezTo>
                <a:cubicBezTo>
                  <a:pt x="505" y="588"/>
                  <a:pt x="589" y="505"/>
                  <a:pt x="589" y="402"/>
                </a:cubicBezTo>
                <a:cubicBezTo>
                  <a:pt x="589" y="300"/>
                  <a:pt x="505" y="216"/>
                  <a:pt x="403" y="216"/>
                </a:cubicBezTo>
                <a:cubicBezTo>
                  <a:pt x="358" y="216"/>
                  <a:pt x="314" y="232"/>
                  <a:pt x="280" y="262"/>
                </a:cubicBezTo>
                <a:lnTo>
                  <a:pt x="224" y="206"/>
                </a:lnTo>
                <a:cubicBezTo>
                  <a:pt x="273" y="161"/>
                  <a:pt x="337" y="137"/>
                  <a:pt x="403" y="137"/>
                </a:cubicBezTo>
                <a:cubicBezTo>
                  <a:pt x="550" y="137"/>
                  <a:pt x="669" y="257"/>
                  <a:pt x="669" y="404"/>
                </a:cubicBezTo>
                <a:cubicBezTo>
                  <a:pt x="669" y="550"/>
                  <a:pt x="549" y="670"/>
                  <a:pt x="403" y="670"/>
                </a:cubicBezTo>
                <a:cubicBezTo>
                  <a:pt x="255" y="670"/>
                  <a:pt x="137" y="550"/>
                  <a:pt x="137" y="404"/>
                </a:cubicBezTo>
                <a:cubicBezTo>
                  <a:pt x="137" y="351"/>
                  <a:pt x="152" y="301"/>
                  <a:pt x="180" y="257"/>
                </a:cubicBezTo>
                <a:cubicBezTo>
                  <a:pt x="184" y="251"/>
                  <a:pt x="183" y="242"/>
                  <a:pt x="177" y="239"/>
                </a:cubicBezTo>
                <a:cubicBezTo>
                  <a:pt x="170" y="235"/>
                  <a:pt x="162" y="236"/>
                  <a:pt x="158" y="242"/>
                </a:cubicBezTo>
                <a:cubicBezTo>
                  <a:pt x="127" y="290"/>
                  <a:pt x="109" y="346"/>
                  <a:pt x="109" y="404"/>
                </a:cubicBezTo>
                <a:cubicBezTo>
                  <a:pt x="109" y="565"/>
                  <a:pt x="240" y="697"/>
                  <a:pt x="403" y="697"/>
                </a:cubicBezTo>
                <a:cubicBezTo>
                  <a:pt x="565" y="697"/>
                  <a:pt x="697" y="566"/>
                  <a:pt x="697" y="404"/>
                </a:cubicBezTo>
                <a:cubicBezTo>
                  <a:pt x="697" y="241"/>
                  <a:pt x="565" y="110"/>
                  <a:pt x="403" y="110"/>
                </a:cubicBezTo>
                <a:cubicBezTo>
                  <a:pt x="329" y="110"/>
                  <a:pt x="259" y="137"/>
                  <a:pt x="205" y="187"/>
                </a:cubicBezTo>
                <a:lnTo>
                  <a:pt x="163" y="145"/>
                </a:lnTo>
                <a:lnTo>
                  <a:pt x="163" y="117"/>
                </a:lnTo>
                <a:cubicBezTo>
                  <a:pt x="230" y="61"/>
                  <a:pt x="315" y="30"/>
                  <a:pt x="403" y="30"/>
                </a:cubicBezTo>
                <a:cubicBezTo>
                  <a:pt x="609" y="30"/>
                  <a:pt x="777" y="197"/>
                  <a:pt x="777" y="404"/>
                </a:cubicBezTo>
                <a:cubicBezTo>
                  <a:pt x="777" y="610"/>
                  <a:pt x="609" y="777"/>
                  <a:pt x="403" y="777"/>
                </a:cubicBezTo>
                <a:cubicBezTo>
                  <a:pt x="197" y="777"/>
                  <a:pt x="29" y="610"/>
                  <a:pt x="29" y="404"/>
                </a:cubicBezTo>
                <a:cubicBezTo>
                  <a:pt x="29" y="334"/>
                  <a:pt x="49" y="265"/>
                  <a:pt x="87" y="205"/>
                </a:cubicBezTo>
                <a:cubicBezTo>
                  <a:pt x="90" y="199"/>
                  <a:pt x="89" y="190"/>
                  <a:pt x="83" y="186"/>
                </a:cubicBezTo>
                <a:cubicBezTo>
                  <a:pt x="77" y="182"/>
                  <a:pt x="68" y="184"/>
                  <a:pt x="64" y="190"/>
                </a:cubicBezTo>
                <a:cubicBezTo>
                  <a:pt x="24" y="254"/>
                  <a:pt x="3" y="327"/>
                  <a:pt x="3" y="402"/>
                </a:cubicBezTo>
                <a:cubicBezTo>
                  <a:pt x="3" y="622"/>
                  <a:pt x="183" y="802"/>
                  <a:pt x="403" y="802"/>
                </a:cubicBezTo>
                <a:cubicBezTo>
                  <a:pt x="623" y="802"/>
                  <a:pt x="803" y="622"/>
                  <a:pt x="803" y="402"/>
                </a:cubicBezTo>
                <a:cubicBezTo>
                  <a:pt x="803" y="181"/>
                  <a:pt x="623" y="1"/>
                  <a:pt x="403" y="1"/>
                </a:cubicBezTo>
                <a:close/>
                <a:moveTo>
                  <a:pt x="137" y="135"/>
                </a:moveTo>
                <a:lnTo>
                  <a:pt x="102" y="135"/>
                </a:lnTo>
                <a:lnTo>
                  <a:pt x="48" y="81"/>
                </a:lnTo>
                <a:lnTo>
                  <a:pt x="69" y="81"/>
                </a:lnTo>
                <a:cubicBezTo>
                  <a:pt x="77" y="81"/>
                  <a:pt x="83" y="75"/>
                  <a:pt x="83" y="67"/>
                </a:cubicBezTo>
                <a:lnTo>
                  <a:pt x="83" y="46"/>
                </a:lnTo>
                <a:lnTo>
                  <a:pt x="137" y="100"/>
                </a:lnTo>
                <a:lnTo>
                  <a:pt x="137" y="135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 w="0">
            <a:noFill/>
            <a:prstDash val="solid"/>
            <a:round/>
          </a:ln>
        </p:spPr>
        <p:txBody>
          <a:bodyPr vert="horz" wrap="square" lIns="91424" tIns="45712" rIns="91424" bIns="45712" numCol="1" anchor="t" anchorCtr="0" compatLnSpc="1"/>
          <a:lstStyle/>
          <a:p>
            <a:pPr defTabSz="913765"/>
            <a:endParaRPr lang="en-US" sz="1200">
              <a:solidFill>
                <a:prstClr val="black"/>
              </a:solidFill>
              <a:latin typeface="Questrial"/>
            </a:endParaRP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0E750029-8752-31FF-7CAD-C7C62C1D924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60751" y="2523547"/>
            <a:ext cx="360339" cy="359945"/>
          </a:xfrm>
          <a:custGeom>
            <a:avLst/>
            <a:gdLst>
              <a:gd name="T0" fmla="*/ 480 w 800"/>
              <a:gd name="T1" fmla="*/ 240 h 800"/>
              <a:gd name="T2" fmla="*/ 426 w 800"/>
              <a:gd name="T3" fmla="*/ 494 h 800"/>
              <a:gd name="T4" fmla="*/ 399 w 800"/>
              <a:gd name="T5" fmla="*/ 494 h 800"/>
              <a:gd name="T6" fmla="*/ 412 w 800"/>
              <a:gd name="T7" fmla="*/ 214 h 800"/>
              <a:gd name="T8" fmla="*/ 506 w 800"/>
              <a:gd name="T9" fmla="*/ 228 h 800"/>
              <a:gd name="T10" fmla="*/ 492 w 800"/>
              <a:gd name="T11" fmla="*/ 428 h 800"/>
              <a:gd name="T12" fmla="*/ 604 w 800"/>
              <a:gd name="T13" fmla="*/ 529 h 800"/>
              <a:gd name="T14" fmla="*/ 632 w 800"/>
              <a:gd name="T15" fmla="*/ 576 h 800"/>
              <a:gd name="T16" fmla="*/ 652 w 800"/>
              <a:gd name="T17" fmla="*/ 576 h 800"/>
              <a:gd name="T18" fmla="*/ 624 w 800"/>
              <a:gd name="T19" fmla="*/ 529 h 800"/>
              <a:gd name="T20" fmla="*/ 102 w 800"/>
              <a:gd name="T21" fmla="*/ 190 h 800"/>
              <a:gd name="T22" fmla="*/ 54 w 800"/>
              <a:gd name="T23" fmla="*/ 319 h 800"/>
              <a:gd name="T24" fmla="*/ 586 w 800"/>
              <a:gd name="T25" fmla="*/ 319 h 800"/>
              <a:gd name="T26" fmla="*/ 400 w 800"/>
              <a:gd name="T27" fmla="*/ 79 h 800"/>
              <a:gd name="T28" fmla="*/ 559 w 800"/>
              <a:gd name="T29" fmla="*/ 319 h 800"/>
              <a:gd name="T30" fmla="*/ 79 w 800"/>
              <a:gd name="T31" fmla="*/ 319 h 800"/>
              <a:gd name="T32" fmla="*/ 102 w 800"/>
              <a:gd name="T33" fmla="*/ 190 h 800"/>
              <a:gd name="T34" fmla="*/ 294 w 800"/>
              <a:gd name="T35" fmla="*/ 520 h 800"/>
              <a:gd name="T36" fmla="*/ 347 w 800"/>
              <a:gd name="T37" fmla="*/ 26 h 800"/>
              <a:gd name="T38" fmla="*/ 361 w 800"/>
              <a:gd name="T39" fmla="*/ 534 h 800"/>
              <a:gd name="T40" fmla="*/ 375 w 800"/>
              <a:gd name="T41" fmla="*/ 14 h 800"/>
              <a:gd name="T42" fmla="*/ 281 w 800"/>
              <a:gd name="T43" fmla="*/ 0 h 800"/>
              <a:gd name="T44" fmla="*/ 267 w 800"/>
              <a:gd name="T45" fmla="*/ 520 h 800"/>
              <a:gd name="T46" fmla="*/ 226 w 800"/>
              <a:gd name="T47" fmla="*/ 106 h 800"/>
              <a:gd name="T48" fmla="*/ 132 w 800"/>
              <a:gd name="T49" fmla="*/ 120 h 800"/>
              <a:gd name="T50" fmla="*/ 146 w 800"/>
              <a:gd name="T51" fmla="*/ 428 h 800"/>
              <a:gd name="T52" fmla="*/ 160 w 800"/>
              <a:gd name="T53" fmla="*/ 134 h 800"/>
              <a:gd name="T54" fmla="*/ 214 w 800"/>
              <a:gd name="T55" fmla="*/ 494 h 800"/>
              <a:gd name="T56" fmla="*/ 241 w 800"/>
              <a:gd name="T57" fmla="*/ 494 h 800"/>
              <a:gd name="T58" fmla="*/ 226 w 800"/>
              <a:gd name="T59" fmla="*/ 106 h 800"/>
              <a:gd name="T60" fmla="*/ 686 w 800"/>
              <a:gd name="T61" fmla="*/ 592 h 800"/>
              <a:gd name="T62" fmla="*/ 676 w 800"/>
              <a:gd name="T63" fmla="*/ 589 h 800"/>
              <a:gd name="T64" fmla="*/ 629 w 800"/>
              <a:gd name="T65" fmla="*/ 630 h 800"/>
              <a:gd name="T66" fmla="*/ 648 w 800"/>
              <a:gd name="T67" fmla="*/ 649 h 800"/>
              <a:gd name="T68" fmla="*/ 760 w 800"/>
              <a:gd name="T69" fmla="*/ 704 h 800"/>
              <a:gd name="T70" fmla="*/ 760 w 800"/>
              <a:gd name="T71" fmla="*/ 761 h 800"/>
              <a:gd name="T72" fmla="*/ 546 w 800"/>
              <a:gd name="T73" fmla="*/ 604 h 800"/>
              <a:gd name="T74" fmla="*/ 528 w 800"/>
              <a:gd name="T75" fmla="*/ 622 h 800"/>
              <a:gd name="T76" fmla="*/ 732 w 800"/>
              <a:gd name="T77" fmla="*/ 800 h 800"/>
              <a:gd name="T78" fmla="*/ 800 w 800"/>
              <a:gd name="T79" fmla="*/ 732 h 800"/>
              <a:gd name="T80" fmla="*/ 640 w 800"/>
              <a:gd name="T81" fmla="*/ 320 h 800"/>
              <a:gd name="T82" fmla="*/ 401 w 800"/>
              <a:gd name="T83" fmla="*/ 24 h 800"/>
              <a:gd name="T84" fmla="*/ 614 w 800"/>
              <a:gd name="T85" fmla="*/ 320 h 800"/>
              <a:gd name="T86" fmla="*/ 26 w 800"/>
              <a:gd name="T87" fmla="*/ 320 h 800"/>
              <a:gd name="T88" fmla="*/ 239 w 800"/>
              <a:gd name="T89" fmla="*/ 24 h 800"/>
              <a:gd name="T90" fmla="*/ 0 w 800"/>
              <a:gd name="T91" fmla="*/ 320 h 800"/>
              <a:gd name="T92" fmla="*/ 640 w 800"/>
              <a:gd name="T93" fmla="*/ 320 h 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800" h="800">
                <a:moveTo>
                  <a:pt x="480" y="414"/>
                </a:moveTo>
                <a:lnTo>
                  <a:pt x="480" y="240"/>
                </a:lnTo>
                <a:lnTo>
                  <a:pt x="426" y="240"/>
                </a:lnTo>
                <a:lnTo>
                  <a:pt x="426" y="494"/>
                </a:lnTo>
                <a:cubicBezTo>
                  <a:pt x="426" y="501"/>
                  <a:pt x="420" y="508"/>
                  <a:pt x="412" y="508"/>
                </a:cubicBezTo>
                <a:cubicBezTo>
                  <a:pt x="405" y="508"/>
                  <a:pt x="399" y="501"/>
                  <a:pt x="399" y="494"/>
                </a:cubicBezTo>
                <a:lnTo>
                  <a:pt x="399" y="228"/>
                </a:lnTo>
                <a:cubicBezTo>
                  <a:pt x="399" y="220"/>
                  <a:pt x="405" y="214"/>
                  <a:pt x="412" y="214"/>
                </a:cubicBezTo>
                <a:lnTo>
                  <a:pt x="492" y="214"/>
                </a:lnTo>
                <a:cubicBezTo>
                  <a:pt x="500" y="214"/>
                  <a:pt x="506" y="220"/>
                  <a:pt x="506" y="228"/>
                </a:cubicBezTo>
                <a:lnTo>
                  <a:pt x="506" y="414"/>
                </a:lnTo>
                <a:cubicBezTo>
                  <a:pt x="506" y="421"/>
                  <a:pt x="500" y="428"/>
                  <a:pt x="492" y="428"/>
                </a:cubicBezTo>
                <a:cubicBezTo>
                  <a:pt x="486" y="426"/>
                  <a:pt x="480" y="421"/>
                  <a:pt x="480" y="414"/>
                </a:cubicBezTo>
                <a:close/>
                <a:moveTo>
                  <a:pt x="604" y="529"/>
                </a:moveTo>
                <a:cubicBezTo>
                  <a:pt x="599" y="534"/>
                  <a:pt x="599" y="543"/>
                  <a:pt x="604" y="547"/>
                </a:cubicBezTo>
                <a:lnTo>
                  <a:pt x="632" y="576"/>
                </a:lnTo>
                <a:cubicBezTo>
                  <a:pt x="635" y="579"/>
                  <a:pt x="639" y="580"/>
                  <a:pt x="642" y="580"/>
                </a:cubicBezTo>
                <a:cubicBezTo>
                  <a:pt x="646" y="580"/>
                  <a:pt x="649" y="579"/>
                  <a:pt x="652" y="576"/>
                </a:cubicBezTo>
                <a:cubicBezTo>
                  <a:pt x="657" y="571"/>
                  <a:pt x="657" y="562"/>
                  <a:pt x="652" y="558"/>
                </a:cubicBezTo>
                <a:lnTo>
                  <a:pt x="624" y="529"/>
                </a:lnTo>
                <a:cubicBezTo>
                  <a:pt x="617" y="522"/>
                  <a:pt x="609" y="522"/>
                  <a:pt x="604" y="529"/>
                </a:cubicBezTo>
                <a:close/>
                <a:moveTo>
                  <a:pt x="102" y="190"/>
                </a:moveTo>
                <a:cubicBezTo>
                  <a:pt x="96" y="186"/>
                  <a:pt x="87" y="189"/>
                  <a:pt x="85" y="195"/>
                </a:cubicBezTo>
                <a:cubicBezTo>
                  <a:pt x="65" y="232"/>
                  <a:pt x="54" y="276"/>
                  <a:pt x="54" y="319"/>
                </a:cubicBezTo>
                <a:cubicBezTo>
                  <a:pt x="54" y="466"/>
                  <a:pt x="174" y="585"/>
                  <a:pt x="320" y="585"/>
                </a:cubicBezTo>
                <a:cubicBezTo>
                  <a:pt x="467" y="585"/>
                  <a:pt x="586" y="465"/>
                  <a:pt x="586" y="319"/>
                </a:cubicBezTo>
                <a:cubicBezTo>
                  <a:pt x="586" y="209"/>
                  <a:pt x="520" y="111"/>
                  <a:pt x="417" y="71"/>
                </a:cubicBezTo>
                <a:cubicBezTo>
                  <a:pt x="411" y="69"/>
                  <a:pt x="402" y="72"/>
                  <a:pt x="400" y="79"/>
                </a:cubicBezTo>
                <a:cubicBezTo>
                  <a:pt x="397" y="85"/>
                  <a:pt x="401" y="94"/>
                  <a:pt x="407" y="96"/>
                </a:cubicBezTo>
                <a:cubicBezTo>
                  <a:pt x="500" y="132"/>
                  <a:pt x="559" y="220"/>
                  <a:pt x="559" y="319"/>
                </a:cubicBezTo>
                <a:cubicBezTo>
                  <a:pt x="559" y="451"/>
                  <a:pt x="451" y="559"/>
                  <a:pt x="319" y="559"/>
                </a:cubicBezTo>
                <a:cubicBezTo>
                  <a:pt x="186" y="559"/>
                  <a:pt x="79" y="451"/>
                  <a:pt x="79" y="319"/>
                </a:cubicBezTo>
                <a:cubicBezTo>
                  <a:pt x="79" y="280"/>
                  <a:pt x="89" y="241"/>
                  <a:pt x="106" y="207"/>
                </a:cubicBezTo>
                <a:cubicBezTo>
                  <a:pt x="111" y="201"/>
                  <a:pt x="109" y="194"/>
                  <a:pt x="102" y="190"/>
                </a:cubicBezTo>
                <a:close/>
                <a:moveTo>
                  <a:pt x="280" y="534"/>
                </a:moveTo>
                <a:cubicBezTo>
                  <a:pt x="287" y="534"/>
                  <a:pt x="294" y="527"/>
                  <a:pt x="294" y="520"/>
                </a:cubicBezTo>
                <a:lnTo>
                  <a:pt x="294" y="26"/>
                </a:lnTo>
                <a:lnTo>
                  <a:pt x="347" y="26"/>
                </a:lnTo>
                <a:lnTo>
                  <a:pt x="347" y="520"/>
                </a:lnTo>
                <a:cubicBezTo>
                  <a:pt x="347" y="527"/>
                  <a:pt x="354" y="534"/>
                  <a:pt x="361" y="534"/>
                </a:cubicBezTo>
                <a:cubicBezTo>
                  <a:pt x="369" y="534"/>
                  <a:pt x="375" y="527"/>
                  <a:pt x="375" y="520"/>
                </a:cubicBezTo>
                <a:lnTo>
                  <a:pt x="375" y="14"/>
                </a:lnTo>
                <a:cubicBezTo>
                  <a:pt x="375" y="6"/>
                  <a:pt x="369" y="0"/>
                  <a:pt x="361" y="0"/>
                </a:cubicBezTo>
                <a:lnTo>
                  <a:pt x="281" y="0"/>
                </a:lnTo>
                <a:cubicBezTo>
                  <a:pt x="274" y="0"/>
                  <a:pt x="267" y="6"/>
                  <a:pt x="267" y="14"/>
                </a:cubicBezTo>
                <a:lnTo>
                  <a:pt x="267" y="520"/>
                </a:lnTo>
                <a:cubicBezTo>
                  <a:pt x="266" y="527"/>
                  <a:pt x="272" y="534"/>
                  <a:pt x="280" y="534"/>
                </a:cubicBezTo>
                <a:close/>
                <a:moveTo>
                  <a:pt x="226" y="106"/>
                </a:moveTo>
                <a:lnTo>
                  <a:pt x="146" y="106"/>
                </a:lnTo>
                <a:cubicBezTo>
                  <a:pt x="139" y="106"/>
                  <a:pt x="132" y="112"/>
                  <a:pt x="132" y="120"/>
                </a:cubicBezTo>
                <a:lnTo>
                  <a:pt x="132" y="414"/>
                </a:lnTo>
                <a:cubicBezTo>
                  <a:pt x="132" y="421"/>
                  <a:pt x="139" y="428"/>
                  <a:pt x="146" y="428"/>
                </a:cubicBezTo>
                <a:cubicBezTo>
                  <a:pt x="154" y="428"/>
                  <a:pt x="160" y="421"/>
                  <a:pt x="160" y="414"/>
                </a:cubicBezTo>
                <a:lnTo>
                  <a:pt x="160" y="134"/>
                </a:lnTo>
                <a:lnTo>
                  <a:pt x="214" y="134"/>
                </a:lnTo>
                <a:lnTo>
                  <a:pt x="214" y="494"/>
                </a:lnTo>
                <a:cubicBezTo>
                  <a:pt x="214" y="501"/>
                  <a:pt x="220" y="508"/>
                  <a:pt x="227" y="508"/>
                </a:cubicBezTo>
                <a:cubicBezTo>
                  <a:pt x="235" y="508"/>
                  <a:pt x="241" y="501"/>
                  <a:pt x="241" y="494"/>
                </a:cubicBezTo>
                <a:lnTo>
                  <a:pt x="241" y="120"/>
                </a:lnTo>
                <a:cubicBezTo>
                  <a:pt x="240" y="112"/>
                  <a:pt x="234" y="106"/>
                  <a:pt x="226" y="106"/>
                </a:cubicBezTo>
                <a:close/>
                <a:moveTo>
                  <a:pt x="780" y="686"/>
                </a:moveTo>
                <a:lnTo>
                  <a:pt x="686" y="592"/>
                </a:lnTo>
                <a:cubicBezTo>
                  <a:pt x="684" y="590"/>
                  <a:pt x="680" y="589"/>
                  <a:pt x="676" y="589"/>
                </a:cubicBezTo>
                <a:lnTo>
                  <a:pt x="676" y="589"/>
                </a:lnTo>
                <a:cubicBezTo>
                  <a:pt x="673" y="589"/>
                  <a:pt x="669" y="590"/>
                  <a:pt x="666" y="592"/>
                </a:cubicBezTo>
                <a:lnTo>
                  <a:pt x="629" y="630"/>
                </a:lnTo>
                <a:cubicBezTo>
                  <a:pt x="624" y="635"/>
                  <a:pt x="624" y="644"/>
                  <a:pt x="629" y="649"/>
                </a:cubicBezTo>
                <a:cubicBezTo>
                  <a:pt x="634" y="654"/>
                  <a:pt x="643" y="654"/>
                  <a:pt x="648" y="649"/>
                </a:cubicBezTo>
                <a:lnTo>
                  <a:pt x="676" y="620"/>
                </a:lnTo>
                <a:lnTo>
                  <a:pt x="760" y="704"/>
                </a:lnTo>
                <a:cubicBezTo>
                  <a:pt x="768" y="711"/>
                  <a:pt x="771" y="721"/>
                  <a:pt x="771" y="732"/>
                </a:cubicBezTo>
                <a:cubicBezTo>
                  <a:pt x="771" y="744"/>
                  <a:pt x="768" y="754"/>
                  <a:pt x="760" y="761"/>
                </a:cubicBezTo>
                <a:cubicBezTo>
                  <a:pt x="745" y="776"/>
                  <a:pt x="719" y="776"/>
                  <a:pt x="704" y="761"/>
                </a:cubicBezTo>
                <a:lnTo>
                  <a:pt x="546" y="604"/>
                </a:lnTo>
                <a:cubicBezTo>
                  <a:pt x="541" y="599"/>
                  <a:pt x="532" y="599"/>
                  <a:pt x="528" y="604"/>
                </a:cubicBezTo>
                <a:cubicBezTo>
                  <a:pt x="523" y="609"/>
                  <a:pt x="523" y="617"/>
                  <a:pt x="528" y="622"/>
                </a:cubicBezTo>
                <a:lnTo>
                  <a:pt x="685" y="780"/>
                </a:lnTo>
                <a:cubicBezTo>
                  <a:pt x="698" y="792"/>
                  <a:pt x="715" y="800"/>
                  <a:pt x="732" y="800"/>
                </a:cubicBezTo>
                <a:cubicBezTo>
                  <a:pt x="750" y="800"/>
                  <a:pt x="766" y="794"/>
                  <a:pt x="780" y="780"/>
                </a:cubicBezTo>
                <a:cubicBezTo>
                  <a:pt x="792" y="767"/>
                  <a:pt x="800" y="751"/>
                  <a:pt x="800" y="732"/>
                </a:cubicBezTo>
                <a:cubicBezTo>
                  <a:pt x="800" y="715"/>
                  <a:pt x="792" y="699"/>
                  <a:pt x="780" y="686"/>
                </a:cubicBezTo>
                <a:close/>
                <a:moveTo>
                  <a:pt x="640" y="320"/>
                </a:moveTo>
                <a:cubicBezTo>
                  <a:pt x="640" y="180"/>
                  <a:pt x="550" y="58"/>
                  <a:pt x="418" y="15"/>
                </a:cubicBezTo>
                <a:cubicBezTo>
                  <a:pt x="410" y="13"/>
                  <a:pt x="403" y="16"/>
                  <a:pt x="401" y="24"/>
                </a:cubicBezTo>
                <a:cubicBezTo>
                  <a:pt x="399" y="31"/>
                  <a:pt x="403" y="39"/>
                  <a:pt x="410" y="40"/>
                </a:cubicBezTo>
                <a:cubicBezTo>
                  <a:pt x="533" y="79"/>
                  <a:pt x="614" y="191"/>
                  <a:pt x="614" y="320"/>
                </a:cubicBezTo>
                <a:cubicBezTo>
                  <a:pt x="614" y="481"/>
                  <a:pt x="483" y="614"/>
                  <a:pt x="320" y="614"/>
                </a:cubicBezTo>
                <a:cubicBezTo>
                  <a:pt x="159" y="614"/>
                  <a:pt x="26" y="483"/>
                  <a:pt x="26" y="320"/>
                </a:cubicBezTo>
                <a:cubicBezTo>
                  <a:pt x="26" y="191"/>
                  <a:pt x="109" y="80"/>
                  <a:pt x="230" y="40"/>
                </a:cubicBezTo>
                <a:cubicBezTo>
                  <a:pt x="238" y="38"/>
                  <a:pt x="241" y="30"/>
                  <a:pt x="239" y="24"/>
                </a:cubicBezTo>
                <a:cubicBezTo>
                  <a:pt x="236" y="16"/>
                  <a:pt x="229" y="13"/>
                  <a:pt x="223" y="15"/>
                </a:cubicBezTo>
                <a:cubicBezTo>
                  <a:pt x="89" y="58"/>
                  <a:pt x="0" y="180"/>
                  <a:pt x="0" y="320"/>
                </a:cubicBezTo>
                <a:cubicBezTo>
                  <a:pt x="0" y="496"/>
                  <a:pt x="144" y="640"/>
                  <a:pt x="320" y="640"/>
                </a:cubicBezTo>
                <a:cubicBezTo>
                  <a:pt x="496" y="640"/>
                  <a:pt x="640" y="496"/>
                  <a:pt x="640" y="320"/>
                </a:cubicBezTo>
                <a:close/>
              </a:path>
            </a:pathLst>
          </a:custGeom>
          <a:solidFill>
            <a:schemeClr val="tx2">
              <a:lumMod val="50000"/>
            </a:schemeClr>
          </a:solidFill>
          <a:ln w="0">
            <a:noFill/>
            <a:prstDash val="solid"/>
            <a:round/>
          </a:ln>
        </p:spPr>
        <p:txBody>
          <a:bodyPr vert="horz" wrap="square" lIns="91424" tIns="45712" rIns="91424" bIns="45712" numCol="1" anchor="t" anchorCtr="0" compatLnSpc="1"/>
          <a:lstStyle/>
          <a:p>
            <a:pPr defTabSz="913765"/>
            <a:endParaRPr lang="en-US" sz="1200">
              <a:solidFill>
                <a:prstClr val="black"/>
              </a:solidFill>
              <a:latin typeface="Questrial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02E406AB-53EA-2B60-2977-3DF2CF5ED3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13732" y="2051916"/>
            <a:ext cx="6871855" cy="3615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879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3000"/>
    </mc:Choice>
    <mc:Fallback xmlns="">
      <p:transition advTm="3000"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67DBAF-64CD-138B-8764-30F6F34B33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C7369791-D149-DA82-11F8-A6CB8ABF614D}"/>
              </a:ext>
            </a:extLst>
          </p:cNvPr>
          <p:cNvSpPr txBox="1"/>
          <p:nvPr/>
        </p:nvSpPr>
        <p:spPr>
          <a:xfrm>
            <a:off x="1714365" y="4160027"/>
            <a:ext cx="3399367" cy="848953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中文语料占比仅</a:t>
            </a: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40%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，在中文场景下可能存在理解不足；</a:t>
            </a:r>
            <a:b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企业级文档处理能力不足，需进一步强化专业领域的表现</a:t>
            </a:r>
            <a:endParaRPr lang="en-US" sz="14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C8067C1F-235B-FB7F-68A6-F2EFFD409262}"/>
              </a:ext>
            </a:extLst>
          </p:cNvPr>
          <p:cNvSpPr txBox="1"/>
          <p:nvPr/>
        </p:nvSpPr>
        <p:spPr>
          <a:xfrm>
            <a:off x="1613218" y="1136161"/>
            <a:ext cx="4053651" cy="330149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3600" b="1" dirty="0">
                <a:solidFill>
                  <a:srgbClr val="404040"/>
                </a:solidFill>
                <a:latin typeface="Inter"/>
              </a:rPr>
              <a:t>MiniMax-Text-01</a:t>
            </a:r>
            <a:endParaRPr lang="en-US" sz="3600" b="1" dirty="0">
              <a:solidFill>
                <a:srgbClr val="404040"/>
              </a:solidFill>
              <a:latin typeface="Inter"/>
            </a:endParaRPr>
          </a:p>
        </p:txBody>
      </p:sp>
      <p:sp>
        <p:nvSpPr>
          <p:cNvPr id="5" name="Text Placeholder 13">
            <a:extLst>
              <a:ext uri="{FF2B5EF4-FFF2-40B4-BE49-F238E27FC236}">
                <a16:creationId xmlns:a16="http://schemas.microsoft.com/office/drawing/2014/main" id="{B29F6E14-285D-96AC-1311-9B1B89AD0AB8}"/>
              </a:ext>
            </a:extLst>
          </p:cNvPr>
          <p:cNvSpPr txBox="1"/>
          <p:nvPr/>
        </p:nvSpPr>
        <p:spPr>
          <a:xfrm>
            <a:off x="1714365" y="3859423"/>
            <a:ext cx="3399367" cy="507923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500" dirty="0"/>
              <a:t>缺点</a:t>
            </a:r>
            <a:endParaRPr lang="en-US" sz="1500" dirty="0"/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9ECB0971-C15B-963B-2EB2-D4E04363428E}"/>
              </a:ext>
            </a:extLst>
          </p:cNvPr>
          <p:cNvSpPr txBox="1"/>
          <p:nvPr/>
        </p:nvSpPr>
        <p:spPr>
          <a:xfrm>
            <a:off x="1717533" y="2623856"/>
            <a:ext cx="3399367" cy="848953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基于</a:t>
            </a:r>
            <a:r>
              <a:rPr lang="en-US" altLang="zh-CN" sz="1400" dirty="0" err="1">
                <a:solidFill>
                  <a:schemeClr val="bg2">
                    <a:lumMod val="75000"/>
                  </a:schemeClr>
                </a:solidFill>
              </a:rPr>
              <a:t>MoE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架构，激活参数高达</a:t>
            </a: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45.9B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，效率表现优秀；</a:t>
            </a:r>
            <a:b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支持多达</a:t>
            </a: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32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种小语种，有助于国际化推广</a:t>
            </a:r>
            <a:r>
              <a:rPr lang="zh-CN" altLang="en-US" sz="1050" dirty="0"/>
              <a:t>。</a:t>
            </a:r>
            <a:endParaRPr lang="en-US" sz="15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03A5C97D-DD69-AA57-8C7C-CA05A26928F0}"/>
              </a:ext>
            </a:extLst>
          </p:cNvPr>
          <p:cNvSpPr txBox="1"/>
          <p:nvPr/>
        </p:nvSpPr>
        <p:spPr>
          <a:xfrm>
            <a:off x="1717533" y="2375568"/>
            <a:ext cx="3399367" cy="507923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500" dirty="0"/>
              <a:t>优点</a:t>
            </a:r>
            <a:endParaRPr lang="en-US" sz="1500" dirty="0"/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ED1D6E87-92B1-2143-C8AC-FCCBE346308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60081" y="4007403"/>
            <a:ext cx="360671" cy="359945"/>
          </a:xfrm>
          <a:custGeom>
            <a:avLst/>
            <a:gdLst>
              <a:gd name="T0" fmla="*/ 159 w 803"/>
              <a:gd name="T1" fmla="*/ 85 h 802"/>
              <a:gd name="T2" fmla="*/ 64 w 803"/>
              <a:gd name="T3" fmla="*/ 2 h 802"/>
              <a:gd name="T4" fmla="*/ 55 w 803"/>
              <a:gd name="T5" fmla="*/ 55 h 802"/>
              <a:gd name="T6" fmla="*/ 3 w 803"/>
              <a:gd name="T7" fmla="*/ 63 h 802"/>
              <a:gd name="T8" fmla="*/ 85 w 803"/>
              <a:gd name="T9" fmla="*/ 158 h 802"/>
              <a:gd name="T10" fmla="*/ 143 w 803"/>
              <a:gd name="T11" fmla="*/ 162 h 802"/>
              <a:gd name="T12" fmla="*/ 403 w 803"/>
              <a:gd name="T13" fmla="*/ 416 h 802"/>
              <a:gd name="T14" fmla="*/ 413 w 803"/>
              <a:gd name="T15" fmla="*/ 393 h 802"/>
              <a:gd name="T16" fmla="*/ 403 w 803"/>
              <a:gd name="T17" fmla="*/ 348 h 802"/>
              <a:gd name="T18" fmla="*/ 403 w 803"/>
              <a:gd name="T19" fmla="*/ 456 h 802"/>
              <a:gd name="T20" fmla="*/ 335 w 803"/>
              <a:gd name="T21" fmla="*/ 388 h 802"/>
              <a:gd name="T22" fmla="*/ 402 w 803"/>
              <a:gd name="T23" fmla="*/ 482 h 802"/>
              <a:gd name="T24" fmla="*/ 402 w 803"/>
              <a:gd name="T25" fmla="*/ 322 h 802"/>
              <a:gd name="T26" fmla="*/ 299 w 803"/>
              <a:gd name="T27" fmla="*/ 280 h 802"/>
              <a:gd name="T28" fmla="*/ 563 w 803"/>
              <a:gd name="T29" fmla="*/ 402 h 802"/>
              <a:gd name="T30" fmla="*/ 243 w 803"/>
              <a:gd name="T31" fmla="*/ 402 h 802"/>
              <a:gd name="T32" fmla="*/ 253 w 803"/>
              <a:gd name="T33" fmla="*/ 315 h 802"/>
              <a:gd name="T34" fmla="*/ 217 w 803"/>
              <a:gd name="T35" fmla="*/ 402 h 802"/>
              <a:gd name="T36" fmla="*/ 589 w 803"/>
              <a:gd name="T37" fmla="*/ 402 h 802"/>
              <a:gd name="T38" fmla="*/ 280 w 803"/>
              <a:gd name="T39" fmla="*/ 262 h 802"/>
              <a:gd name="T40" fmla="*/ 403 w 803"/>
              <a:gd name="T41" fmla="*/ 137 h 802"/>
              <a:gd name="T42" fmla="*/ 403 w 803"/>
              <a:gd name="T43" fmla="*/ 670 h 802"/>
              <a:gd name="T44" fmla="*/ 180 w 803"/>
              <a:gd name="T45" fmla="*/ 257 h 802"/>
              <a:gd name="T46" fmla="*/ 158 w 803"/>
              <a:gd name="T47" fmla="*/ 242 h 802"/>
              <a:gd name="T48" fmla="*/ 403 w 803"/>
              <a:gd name="T49" fmla="*/ 697 h 802"/>
              <a:gd name="T50" fmla="*/ 403 w 803"/>
              <a:gd name="T51" fmla="*/ 110 h 802"/>
              <a:gd name="T52" fmla="*/ 163 w 803"/>
              <a:gd name="T53" fmla="*/ 145 h 802"/>
              <a:gd name="T54" fmla="*/ 403 w 803"/>
              <a:gd name="T55" fmla="*/ 30 h 802"/>
              <a:gd name="T56" fmla="*/ 403 w 803"/>
              <a:gd name="T57" fmla="*/ 777 h 802"/>
              <a:gd name="T58" fmla="*/ 87 w 803"/>
              <a:gd name="T59" fmla="*/ 205 h 802"/>
              <a:gd name="T60" fmla="*/ 64 w 803"/>
              <a:gd name="T61" fmla="*/ 190 h 802"/>
              <a:gd name="T62" fmla="*/ 403 w 803"/>
              <a:gd name="T63" fmla="*/ 802 h 802"/>
              <a:gd name="T64" fmla="*/ 403 w 803"/>
              <a:gd name="T65" fmla="*/ 1 h 802"/>
              <a:gd name="T66" fmla="*/ 102 w 803"/>
              <a:gd name="T67" fmla="*/ 135 h 802"/>
              <a:gd name="T68" fmla="*/ 69 w 803"/>
              <a:gd name="T69" fmla="*/ 81 h 802"/>
              <a:gd name="T70" fmla="*/ 83 w 803"/>
              <a:gd name="T71" fmla="*/ 46 h 802"/>
              <a:gd name="T72" fmla="*/ 137 w 803"/>
              <a:gd name="T73" fmla="*/ 135 h 8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03" h="802">
                <a:moveTo>
                  <a:pt x="403" y="1"/>
                </a:moveTo>
                <a:cubicBezTo>
                  <a:pt x="314" y="1"/>
                  <a:pt x="228" y="31"/>
                  <a:pt x="159" y="85"/>
                </a:cubicBezTo>
                <a:lnTo>
                  <a:pt x="79" y="5"/>
                </a:lnTo>
                <a:cubicBezTo>
                  <a:pt x="75" y="1"/>
                  <a:pt x="69" y="0"/>
                  <a:pt x="64" y="2"/>
                </a:cubicBezTo>
                <a:cubicBezTo>
                  <a:pt x="59" y="5"/>
                  <a:pt x="55" y="10"/>
                  <a:pt x="55" y="15"/>
                </a:cubicBezTo>
                <a:lnTo>
                  <a:pt x="55" y="55"/>
                </a:lnTo>
                <a:lnTo>
                  <a:pt x="15" y="55"/>
                </a:lnTo>
                <a:cubicBezTo>
                  <a:pt x="10" y="55"/>
                  <a:pt x="5" y="59"/>
                  <a:pt x="3" y="63"/>
                </a:cubicBezTo>
                <a:cubicBezTo>
                  <a:pt x="0" y="68"/>
                  <a:pt x="2" y="75"/>
                  <a:pt x="5" y="78"/>
                </a:cubicBezTo>
                <a:lnTo>
                  <a:pt x="85" y="158"/>
                </a:lnTo>
                <a:cubicBezTo>
                  <a:pt x="88" y="161"/>
                  <a:pt x="92" y="162"/>
                  <a:pt x="95" y="162"/>
                </a:cubicBezTo>
                <a:lnTo>
                  <a:pt x="143" y="162"/>
                </a:lnTo>
                <a:lnTo>
                  <a:pt x="393" y="412"/>
                </a:lnTo>
                <a:cubicBezTo>
                  <a:pt x="395" y="415"/>
                  <a:pt x="399" y="416"/>
                  <a:pt x="403" y="416"/>
                </a:cubicBezTo>
                <a:cubicBezTo>
                  <a:pt x="407" y="416"/>
                  <a:pt x="409" y="415"/>
                  <a:pt x="413" y="412"/>
                </a:cubicBezTo>
                <a:cubicBezTo>
                  <a:pt x="418" y="407"/>
                  <a:pt x="418" y="398"/>
                  <a:pt x="413" y="393"/>
                </a:cubicBezTo>
                <a:lnTo>
                  <a:pt x="375" y="356"/>
                </a:lnTo>
                <a:cubicBezTo>
                  <a:pt x="383" y="351"/>
                  <a:pt x="392" y="348"/>
                  <a:pt x="403" y="348"/>
                </a:cubicBezTo>
                <a:cubicBezTo>
                  <a:pt x="433" y="348"/>
                  <a:pt x="457" y="372"/>
                  <a:pt x="457" y="402"/>
                </a:cubicBezTo>
                <a:cubicBezTo>
                  <a:pt x="457" y="432"/>
                  <a:pt x="433" y="456"/>
                  <a:pt x="403" y="456"/>
                </a:cubicBezTo>
                <a:cubicBezTo>
                  <a:pt x="373" y="456"/>
                  <a:pt x="349" y="432"/>
                  <a:pt x="349" y="402"/>
                </a:cubicBezTo>
                <a:cubicBezTo>
                  <a:pt x="349" y="395"/>
                  <a:pt x="343" y="388"/>
                  <a:pt x="335" y="388"/>
                </a:cubicBezTo>
                <a:cubicBezTo>
                  <a:pt x="328" y="388"/>
                  <a:pt x="322" y="395"/>
                  <a:pt x="322" y="402"/>
                </a:cubicBezTo>
                <a:cubicBezTo>
                  <a:pt x="322" y="446"/>
                  <a:pt x="358" y="482"/>
                  <a:pt x="402" y="482"/>
                </a:cubicBezTo>
                <a:cubicBezTo>
                  <a:pt x="445" y="482"/>
                  <a:pt x="482" y="446"/>
                  <a:pt x="482" y="402"/>
                </a:cubicBezTo>
                <a:cubicBezTo>
                  <a:pt x="482" y="358"/>
                  <a:pt x="445" y="322"/>
                  <a:pt x="402" y="322"/>
                </a:cubicBezTo>
                <a:cubicBezTo>
                  <a:pt x="384" y="322"/>
                  <a:pt x="368" y="327"/>
                  <a:pt x="355" y="336"/>
                </a:cubicBezTo>
                <a:lnTo>
                  <a:pt x="299" y="280"/>
                </a:lnTo>
                <a:cubicBezTo>
                  <a:pt x="328" y="255"/>
                  <a:pt x="364" y="242"/>
                  <a:pt x="403" y="242"/>
                </a:cubicBezTo>
                <a:cubicBezTo>
                  <a:pt x="492" y="242"/>
                  <a:pt x="563" y="313"/>
                  <a:pt x="563" y="402"/>
                </a:cubicBezTo>
                <a:cubicBezTo>
                  <a:pt x="563" y="491"/>
                  <a:pt x="492" y="562"/>
                  <a:pt x="403" y="562"/>
                </a:cubicBezTo>
                <a:cubicBezTo>
                  <a:pt x="314" y="562"/>
                  <a:pt x="243" y="491"/>
                  <a:pt x="243" y="402"/>
                </a:cubicBezTo>
                <a:cubicBezTo>
                  <a:pt x="243" y="379"/>
                  <a:pt x="248" y="355"/>
                  <a:pt x="259" y="332"/>
                </a:cubicBezTo>
                <a:cubicBezTo>
                  <a:pt x="263" y="326"/>
                  <a:pt x="259" y="317"/>
                  <a:pt x="253" y="315"/>
                </a:cubicBezTo>
                <a:cubicBezTo>
                  <a:pt x="247" y="311"/>
                  <a:pt x="238" y="315"/>
                  <a:pt x="235" y="321"/>
                </a:cubicBezTo>
                <a:cubicBezTo>
                  <a:pt x="223" y="347"/>
                  <a:pt x="217" y="375"/>
                  <a:pt x="217" y="402"/>
                </a:cubicBezTo>
                <a:cubicBezTo>
                  <a:pt x="217" y="505"/>
                  <a:pt x="300" y="588"/>
                  <a:pt x="403" y="588"/>
                </a:cubicBezTo>
                <a:cubicBezTo>
                  <a:pt x="505" y="588"/>
                  <a:pt x="589" y="505"/>
                  <a:pt x="589" y="402"/>
                </a:cubicBezTo>
                <a:cubicBezTo>
                  <a:pt x="589" y="300"/>
                  <a:pt x="505" y="216"/>
                  <a:pt x="403" y="216"/>
                </a:cubicBezTo>
                <a:cubicBezTo>
                  <a:pt x="358" y="216"/>
                  <a:pt x="314" y="232"/>
                  <a:pt x="280" y="262"/>
                </a:cubicBezTo>
                <a:lnTo>
                  <a:pt x="224" y="206"/>
                </a:lnTo>
                <a:cubicBezTo>
                  <a:pt x="273" y="161"/>
                  <a:pt x="337" y="137"/>
                  <a:pt x="403" y="137"/>
                </a:cubicBezTo>
                <a:cubicBezTo>
                  <a:pt x="550" y="137"/>
                  <a:pt x="669" y="257"/>
                  <a:pt x="669" y="404"/>
                </a:cubicBezTo>
                <a:cubicBezTo>
                  <a:pt x="669" y="550"/>
                  <a:pt x="549" y="670"/>
                  <a:pt x="403" y="670"/>
                </a:cubicBezTo>
                <a:cubicBezTo>
                  <a:pt x="255" y="670"/>
                  <a:pt x="137" y="550"/>
                  <a:pt x="137" y="404"/>
                </a:cubicBezTo>
                <a:cubicBezTo>
                  <a:pt x="137" y="351"/>
                  <a:pt x="152" y="301"/>
                  <a:pt x="180" y="257"/>
                </a:cubicBezTo>
                <a:cubicBezTo>
                  <a:pt x="184" y="251"/>
                  <a:pt x="183" y="242"/>
                  <a:pt x="177" y="239"/>
                </a:cubicBezTo>
                <a:cubicBezTo>
                  <a:pt x="170" y="235"/>
                  <a:pt x="162" y="236"/>
                  <a:pt x="158" y="242"/>
                </a:cubicBezTo>
                <a:cubicBezTo>
                  <a:pt x="127" y="290"/>
                  <a:pt x="109" y="346"/>
                  <a:pt x="109" y="404"/>
                </a:cubicBezTo>
                <a:cubicBezTo>
                  <a:pt x="109" y="565"/>
                  <a:pt x="240" y="697"/>
                  <a:pt x="403" y="697"/>
                </a:cubicBezTo>
                <a:cubicBezTo>
                  <a:pt x="565" y="697"/>
                  <a:pt x="697" y="566"/>
                  <a:pt x="697" y="404"/>
                </a:cubicBezTo>
                <a:cubicBezTo>
                  <a:pt x="697" y="241"/>
                  <a:pt x="565" y="110"/>
                  <a:pt x="403" y="110"/>
                </a:cubicBezTo>
                <a:cubicBezTo>
                  <a:pt x="329" y="110"/>
                  <a:pt x="259" y="137"/>
                  <a:pt x="205" y="187"/>
                </a:cubicBezTo>
                <a:lnTo>
                  <a:pt x="163" y="145"/>
                </a:lnTo>
                <a:lnTo>
                  <a:pt x="163" y="117"/>
                </a:lnTo>
                <a:cubicBezTo>
                  <a:pt x="230" y="61"/>
                  <a:pt x="315" y="30"/>
                  <a:pt x="403" y="30"/>
                </a:cubicBezTo>
                <a:cubicBezTo>
                  <a:pt x="609" y="30"/>
                  <a:pt x="777" y="197"/>
                  <a:pt x="777" y="404"/>
                </a:cubicBezTo>
                <a:cubicBezTo>
                  <a:pt x="777" y="610"/>
                  <a:pt x="609" y="777"/>
                  <a:pt x="403" y="777"/>
                </a:cubicBezTo>
                <a:cubicBezTo>
                  <a:pt x="197" y="777"/>
                  <a:pt x="29" y="610"/>
                  <a:pt x="29" y="404"/>
                </a:cubicBezTo>
                <a:cubicBezTo>
                  <a:pt x="29" y="334"/>
                  <a:pt x="49" y="265"/>
                  <a:pt x="87" y="205"/>
                </a:cubicBezTo>
                <a:cubicBezTo>
                  <a:pt x="90" y="199"/>
                  <a:pt x="89" y="190"/>
                  <a:pt x="83" y="186"/>
                </a:cubicBezTo>
                <a:cubicBezTo>
                  <a:pt x="77" y="182"/>
                  <a:pt x="68" y="184"/>
                  <a:pt x="64" y="190"/>
                </a:cubicBezTo>
                <a:cubicBezTo>
                  <a:pt x="24" y="254"/>
                  <a:pt x="3" y="327"/>
                  <a:pt x="3" y="402"/>
                </a:cubicBezTo>
                <a:cubicBezTo>
                  <a:pt x="3" y="622"/>
                  <a:pt x="183" y="802"/>
                  <a:pt x="403" y="802"/>
                </a:cubicBezTo>
                <a:cubicBezTo>
                  <a:pt x="623" y="802"/>
                  <a:pt x="803" y="622"/>
                  <a:pt x="803" y="402"/>
                </a:cubicBezTo>
                <a:cubicBezTo>
                  <a:pt x="803" y="181"/>
                  <a:pt x="623" y="1"/>
                  <a:pt x="403" y="1"/>
                </a:cubicBezTo>
                <a:close/>
                <a:moveTo>
                  <a:pt x="137" y="135"/>
                </a:moveTo>
                <a:lnTo>
                  <a:pt x="102" y="135"/>
                </a:lnTo>
                <a:lnTo>
                  <a:pt x="48" y="81"/>
                </a:lnTo>
                <a:lnTo>
                  <a:pt x="69" y="81"/>
                </a:lnTo>
                <a:cubicBezTo>
                  <a:pt x="77" y="81"/>
                  <a:pt x="83" y="75"/>
                  <a:pt x="83" y="67"/>
                </a:cubicBezTo>
                <a:lnTo>
                  <a:pt x="83" y="46"/>
                </a:lnTo>
                <a:lnTo>
                  <a:pt x="137" y="100"/>
                </a:lnTo>
                <a:lnTo>
                  <a:pt x="137" y="135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 w="0">
            <a:noFill/>
            <a:prstDash val="solid"/>
            <a:round/>
          </a:ln>
        </p:spPr>
        <p:txBody>
          <a:bodyPr vert="horz" wrap="square" lIns="91424" tIns="45712" rIns="91424" bIns="45712" numCol="1" anchor="t" anchorCtr="0" compatLnSpc="1"/>
          <a:lstStyle/>
          <a:p>
            <a:pPr defTabSz="913765"/>
            <a:endParaRPr lang="en-US" sz="1200">
              <a:solidFill>
                <a:prstClr val="black"/>
              </a:solidFill>
              <a:latin typeface="Questrial"/>
            </a:endParaRP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BC6079B1-DDB0-B02D-7ABF-0303F4E9C0E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60751" y="2523547"/>
            <a:ext cx="360339" cy="359945"/>
          </a:xfrm>
          <a:custGeom>
            <a:avLst/>
            <a:gdLst>
              <a:gd name="T0" fmla="*/ 480 w 800"/>
              <a:gd name="T1" fmla="*/ 240 h 800"/>
              <a:gd name="T2" fmla="*/ 426 w 800"/>
              <a:gd name="T3" fmla="*/ 494 h 800"/>
              <a:gd name="T4" fmla="*/ 399 w 800"/>
              <a:gd name="T5" fmla="*/ 494 h 800"/>
              <a:gd name="T6" fmla="*/ 412 w 800"/>
              <a:gd name="T7" fmla="*/ 214 h 800"/>
              <a:gd name="T8" fmla="*/ 506 w 800"/>
              <a:gd name="T9" fmla="*/ 228 h 800"/>
              <a:gd name="T10" fmla="*/ 492 w 800"/>
              <a:gd name="T11" fmla="*/ 428 h 800"/>
              <a:gd name="T12" fmla="*/ 604 w 800"/>
              <a:gd name="T13" fmla="*/ 529 h 800"/>
              <a:gd name="T14" fmla="*/ 632 w 800"/>
              <a:gd name="T15" fmla="*/ 576 h 800"/>
              <a:gd name="T16" fmla="*/ 652 w 800"/>
              <a:gd name="T17" fmla="*/ 576 h 800"/>
              <a:gd name="T18" fmla="*/ 624 w 800"/>
              <a:gd name="T19" fmla="*/ 529 h 800"/>
              <a:gd name="T20" fmla="*/ 102 w 800"/>
              <a:gd name="T21" fmla="*/ 190 h 800"/>
              <a:gd name="T22" fmla="*/ 54 w 800"/>
              <a:gd name="T23" fmla="*/ 319 h 800"/>
              <a:gd name="T24" fmla="*/ 586 w 800"/>
              <a:gd name="T25" fmla="*/ 319 h 800"/>
              <a:gd name="T26" fmla="*/ 400 w 800"/>
              <a:gd name="T27" fmla="*/ 79 h 800"/>
              <a:gd name="T28" fmla="*/ 559 w 800"/>
              <a:gd name="T29" fmla="*/ 319 h 800"/>
              <a:gd name="T30" fmla="*/ 79 w 800"/>
              <a:gd name="T31" fmla="*/ 319 h 800"/>
              <a:gd name="T32" fmla="*/ 102 w 800"/>
              <a:gd name="T33" fmla="*/ 190 h 800"/>
              <a:gd name="T34" fmla="*/ 294 w 800"/>
              <a:gd name="T35" fmla="*/ 520 h 800"/>
              <a:gd name="T36" fmla="*/ 347 w 800"/>
              <a:gd name="T37" fmla="*/ 26 h 800"/>
              <a:gd name="T38" fmla="*/ 361 w 800"/>
              <a:gd name="T39" fmla="*/ 534 h 800"/>
              <a:gd name="T40" fmla="*/ 375 w 800"/>
              <a:gd name="T41" fmla="*/ 14 h 800"/>
              <a:gd name="T42" fmla="*/ 281 w 800"/>
              <a:gd name="T43" fmla="*/ 0 h 800"/>
              <a:gd name="T44" fmla="*/ 267 w 800"/>
              <a:gd name="T45" fmla="*/ 520 h 800"/>
              <a:gd name="T46" fmla="*/ 226 w 800"/>
              <a:gd name="T47" fmla="*/ 106 h 800"/>
              <a:gd name="T48" fmla="*/ 132 w 800"/>
              <a:gd name="T49" fmla="*/ 120 h 800"/>
              <a:gd name="T50" fmla="*/ 146 w 800"/>
              <a:gd name="T51" fmla="*/ 428 h 800"/>
              <a:gd name="T52" fmla="*/ 160 w 800"/>
              <a:gd name="T53" fmla="*/ 134 h 800"/>
              <a:gd name="T54" fmla="*/ 214 w 800"/>
              <a:gd name="T55" fmla="*/ 494 h 800"/>
              <a:gd name="T56" fmla="*/ 241 w 800"/>
              <a:gd name="T57" fmla="*/ 494 h 800"/>
              <a:gd name="T58" fmla="*/ 226 w 800"/>
              <a:gd name="T59" fmla="*/ 106 h 800"/>
              <a:gd name="T60" fmla="*/ 686 w 800"/>
              <a:gd name="T61" fmla="*/ 592 h 800"/>
              <a:gd name="T62" fmla="*/ 676 w 800"/>
              <a:gd name="T63" fmla="*/ 589 h 800"/>
              <a:gd name="T64" fmla="*/ 629 w 800"/>
              <a:gd name="T65" fmla="*/ 630 h 800"/>
              <a:gd name="T66" fmla="*/ 648 w 800"/>
              <a:gd name="T67" fmla="*/ 649 h 800"/>
              <a:gd name="T68" fmla="*/ 760 w 800"/>
              <a:gd name="T69" fmla="*/ 704 h 800"/>
              <a:gd name="T70" fmla="*/ 760 w 800"/>
              <a:gd name="T71" fmla="*/ 761 h 800"/>
              <a:gd name="T72" fmla="*/ 546 w 800"/>
              <a:gd name="T73" fmla="*/ 604 h 800"/>
              <a:gd name="T74" fmla="*/ 528 w 800"/>
              <a:gd name="T75" fmla="*/ 622 h 800"/>
              <a:gd name="T76" fmla="*/ 732 w 800"/>
              <a:gd name="T77" fmla="*/ 800 h 800"/>
              <a:gd name="T78" fmla="*/ 800 w 800"/>
              <a:gd name="T79" fmla="*/ 732 h 800"/>
              <a:gd name="T80" fmla="*/ 640 w 800"/>
              <a:gd name="T81" fmla="*/ 320 h 800"/>
              <a:gd name="T82" fmla="*/ 401 w 800"/>
              <a:gd name="T83" fmla="*/ 24 h 800"/>
              <a:gd name="T84" fmla="*/ 614 w 800"/>
              <a:gd name="T85" fmla="*/ 320 h 800"/>
              <a:gd name="T86" fmla="*/ 26 w 800"/>
              <a:gd name="T87" fmla="*/ 320 h 800"/>
              <a:gd name="T88" fmla="*/ 239 w 800"/>
              <a:gd name="T89" fmla="*/ 24 h 800"/>
              <a:gd name="T90" fmla="*/ 0 w 800"/>
              <a:gd name="T91" fmla="*/ 320 h 800"/>
              <a:gd name="T92" fmla="*/ 640 w 800"/>
              <a:gd name="T93" fmla="*/ 320 h 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800" h="800">
                <a:moveTo>
                  <a:pt x="480" y="414"/>
                </a:moveTo>
                <a:lnTo>
                  <a:pt x="480" y="240"/>
                </a:lnTo>
                <a:lnTo>
                  <a:pt x="426" y="240"/>
                </a:lnTo>
                <a:lnTo>
                  <a:pt x="426" y="494"/>
                </a:lnTo>
                <a:cubicBezTo>
                  <a:pt x="426" y="501"/>
                  <a:pt x="420" y="508"/>
                  <a:pt x="412" y="508"/>
                </a:cubicBezTo>
                <a:cubicBezTo>
                  <a:pt x="405" y="508"/>
                  <a:pt x="399" y="501"/>
                  <a:pt x="399" y="494"/>
                </a:cubicBezTo>
                <a:lnTo>
                  <a:pt x="399" y="228"/>
                </a:lnTo>
                <a:cubicBezTo>
                  <a:pt x="399" y="220"/>
                  <a:pt x="405" y="214"/>
                  <a:pt x="412" y="214"/>
                </a:cubicBezTo>
                <a:lnTo>
                  <a:pt x="492" y="214"/>
                </a:lnTo>
                <a:cubicBezTo>
                  <a:pt x="500" y="214"/>
                  <a:pt x="506" y="220"/>
                  <a:pt x="506" y="228"/>
                </a:cubicBezTo>
                <a:lnTo>
                  <a:pt x="506" y="414"/>
                </a:lnTo>
                <a:cubicBezTo>
                  <a:pt x="506" y="421"/>
                  <a:pt x="500" y="428"/>
                  <a:pt x="492" y="428"/>
                </a:cubicBezTo>
                <a:cubicBezTo>
                  <a:pt x="486" y="426"/>
                  <a:pt x="480" y="421"/>
                  <a:pt x="480" y="414"/>
                </a:cubicBezTo>
                <a:close/>
                <a:moveTo>
                  <a:pt x="604" y="529"/>
                </a:moveTo>
                <a:cubicBezTo>
                  <a:pt x="599" y="534"/>
                  <a:pt x="599" y="543"/>
                  <a:pt x="604" y="547"/>
                </a:cubicBezTo>
                <a:lnTo>
                  <a:pt x="632" y="576"/>
                </a:lnTo>
                <a:cubicBezTo>
                  <a:pt x="635" y="579"/>
                  <a:pt x="639" y="580"/>
                  <a:pt x="642" y="580"/>
                </a:cubicBezTo>
                <a:cubicBezTo>
                  <a:pt x="646" y="580"/>
                  <a:pt x="649" y="579"/>
                  <a:pt x="652" y="576"/>
                </a:cubicBezTo>
                <a:cubicBezTo>
                  <a:pt x="657" y="571"/>
                  <a:pt x="657" y="562"/>
                  <a:pt x="652" y="558"/>
                </a:cubicBezTo>
                <a:lnTo>
                  <a:pt x="624" y="529"/>
                </a:lnTo>
                <a:cubicBezTo>
                  <a:pt x="617" y="522"/>
                  <a:pt x="609" y="522"/>
                  <a:pt x="604" y="529"/>
                </a:cubicBezTo>
                <a:close/>
                <a:moveTo>
                  <a:pt x="102" y="190"/>
                </a:moveTo>
                <a:cubicBezTo>
                  <a:pt x="96" y="186"/>
                  <a:pt x="87" y="189"/>
                  <a:pt x="85" y="195"/>
                </a:cubicBezTo>
                <a:cubicBezTo>
                  <a:pt x="65" y="232"/>
                  <a:pt x="54" y="276"/>
                  <a:pt x="54" y="319"/>
                </a:cubicBezTo>
                <a:cubicBezTo>
                  <a:pt x="54" y="466"/>
                  <a:pt x="174" y="585"/>
                  <a:pt x="320" y="585"/>
                </a:cubicBezTo>
                <a:cubicBezTo>
                  <a:pt x="467" y="585"/>
                  <a:pt x="586" y="465"/>
                  <a:pt x="586" y="319"/>
                </a:cubicBezTo>
                <a:cubicBezTo>
                  <a:pt x="586" y="209"/>
                  <a:pt x="520" y="111"/>
                  <a:pt x="417" y="71"/>
                </a:cubicBezTo>
                <a:cubicBezTo>
                  <a:pt x="411" y="69"/>
                  <a:pt x="402" y="72"/>
                  <a:pt x="400" y="79"/>
                </a:cubicBezTo>
                <a:cubicBezTo>
                  <a:pt x="397" y="85"/>
                  <a:pt x="401" y="94"/>
                  <a:pt x="407" y="96"/>
                </a:cubicBezTo>
                <a:cubicBezTo>
                  <a:pt x="500" y="132"/>
                  <a:pt x="559" y="220"/>
                  <a:pt x="559" y="319"/>
                </a:cubicBezTo>
                <a:cubicBezTo>
                  <a:pt x="559" y="451"/>
                  <a:pt x="451" y="559"/>
                  <a:pt x="319" y="559"/>
                </a:cubicBezTo>
                <a:cubicBezTo>
                  <a:pt x="186" y="559"/>
                  <a:pt x="79" y="451"/>
                  <a:pt x="79" y="319"/>
                </a:cubicBezTo>
                <a:cubicBezTo>
                  <a:pt x="79" y="280"/>
                  <a:pt x="89" y="241"/>
                  <a:pt x="106" y="207"/>
                </a:cubicBezTo>
                <a:cubicBezTo>
                  <a:pt x="111" y="201"/>
                  <a:pt x="109" y="194"/>
                  <a:pt x="102" y="190"/>
                </a:cubicBezTo>
                <a:close/>
                <a:moveTo>
                  <a:pt x="280" y="534"/>
                </a:moveTo>
                <a:cubicBezTo>
                  <a:pt x="287" y="534"/>
                  <a:pt x="294" y="527"/>
                  <a:pt x="294" y="520"/>
                </a:cubicBezTo>
                <a:lnTo>
                  <a:pt x="294" y="26"/>
                </a:lnTo>
                <a:lnTo>
                  <a:pt x="347" y="26"/>
                </a:lnTo>
                <a:lnTo>
                  <a:pt x="347" y="520"/>
                </a:lnTo>
                <a:cubicBezTo>
                  <a:pt x="347" y="527"/>
                  <a:pt x="354" y="534"/>
                  <a:pt x="361" y="534"/>
                </a:cubicBezTo>
                <a:cubicBezTo>
                  <a:pt x="369" y="534"/>
                  <a:pt x="375" y="527"/>
                  <a:pt x="375" y="520"/>
                </a:cubicBezTo>
                <a:lnTo>
                  <a:pt x="375" y="14"/>
                </a:lnTo>
                <a:cubicBezTo>
                  <a:pt x="375" y="6"/>
                  <a:pt x="369" y="0"/>
                  <a:pt x="361" y="0"/>
                </a:cubicBezTo>
                <a:lnTo>
                  <a:pt x="281" y="0"/>
                </a:lnTo>
                <a:cubicBezTo>
                  <a:pt x="274" y="0"/>
                  <a:pt x="267" y="6"/>
                  <a:pt x="267" y="14"/>
                </a:cubicBezTo>
                <a:lnTo>
                  <a:pt x="267" y="520"/>
                </a:lnTo>
                <a:cubicBezTo>
                  <a:pt x="266" y="527"/>
                  <a:pt x="272" y="534"/>
                  <a:pt x="280" y="534"/>
                </a:cubicBezTo>
                <a:close/>
                <a:moveTo>
                  <a:pt x="226" y="106"/>
                </a:moveTo>
                <a:lnTo>
                  <a:pt x="146" y="106"/>
                </a:lnTo>
                <a:cubicBezTo>
                  <a:pt x="139" y="106"/>
                  <a:pt x="132" y="112"/>
                  <a:pt x="132" y="120"/>
                </a:cubicBezTo>
                <a:lnTo>
                  <a:pt x="132" y="414"/>
                </a:lnTo>
                <a:cubicBezTo>
                  <a:pt x="132" y="421"/>
                  <a:pt x="139" y="428"/>
                  <a:pt x="146" y="428"/>
                </a:cubicBezTo>
                <a:cubicBezTo>
                  <a:pt x="154" y="428"/>
                  <a:pt x="160" y="421"/>
                  <a:pt x="160" y="414"/>
                </a:cubicBezTo>
                <a:lnTo>
                  <a:pt x="160" y="134"/>
                </a:lnTo>
                <a:lnTo>
                  <a:pt x="214" y="134"/>
                </a:lnTo>
                <a:lnTo>
                  <a:pt x="214" y="494"/>
                </a:lnTo>
                <a:cubicBezTo>
                  <a:pt x="214" y="501"/>
                  <a:pt x="220" y="508"/>
                  <a:pt x="227" y="508"/>
                </a:cubicBezTo>
                <a:cubicBezTo>
                  <a:pt x="235" y="508"/>
                  <a:pt x="241" y="501"/>
                  <a:pt x="241" y="494"/>
                </a:cubicBezTo>
                <a:lnTo>
                  <a:pt x="241" y="120"/>
                </a:lnTo>
                <a:cubicBezTo>
                  <a:pt x="240" y="112"/>
                  <a:pt x="234" y="106"/>
                  <a:pt x="226" y="106"/>
                </a:cubicBezTo>
                <a:close/>
                <a:moveTo>
                  <a:pt x="780" y="686"/>
                </a:moveTo>
                <a:lnTo>
                  <a:pt x="686" y="592"/>
                </a:lnTo>
                <a:cubicBezTo>
                  <a:pt x="684" y="590"/>
                  <a:pt x="680" y="589"/>
                  <a:pt x="676" y="589"/>
                </a:cubicBezTo>
                <a:lnTo>
                  <a:pt x="676" y="589"/>
                </a:lnTo>
                <a:cubicBezTo>
                  <a:pt x="673" y="589"/>
                  <a:pt x="669" y="590"/>
                  <a:pt x="666" y="592"/>
                </a:cubicBezTo>
                <a:lnTo>
                  <a:pt x="629" y="630"/>
                </a:lnTo>
                <a:cubicBezTo>
                  <a:pt x="624" y="635"/>
                  <a:pt x="624" y="644"/>
                  <a:pt x="629" y="649"/>
                </a:cubicBezTo>
                <a:cubicBezTo>
                  <a:pt x="634" y="654"/>
                  <a:pt x="643" y="654"/>
                  <a:pt x="648" y="649"/>
                </a:cubicBezTo>
                <a:lnTo>
                  <a:pt x="676" y="620"/>
                </a:lnTo>
                <a:lnTo>
                  <a:pt x="760" y="704"/>
                </a:lnTo>
                <a:cubicBezTo>
                  <a:pt x="768" y="711"/>
                  <a:pt x="771" y="721"/>
                  <a:pt x="771" y="732"/>
                </a:cubicBezTo>
                <a:cubicBezTo>
                  <a:pt x="771" y="744"/>
                  <a:pt x="768" y="754"/>
                  <a:pt x="760" y="761"/>
                </a:cubicBezTo>
                <a:cubicBezTo>
                  <a:pt x="745" y="776"/>
                  <a:pt x="719" y="776"/>
                  <a:pt x="704" y="761"/>
                </a:cubicBezTo>
                <a:lnTo>
                  <a:pt x="546" y="604"/>
                </a:lnTo>
                <a:cubicBezTo>
                  <a:pt x="541" y="599"/>
                  <a:pt x="532" y="599"/>
                  <a:pt x="528" y="604"/>
                </a:cubicBezTo>
                <a:cubicBezTo>
                  <a:pt x="523" y="609"/>
                  <a:pt x="523" y="617"/>
                  <a:pt x="528" y="622"/>
                </a:cubicBezTo>
                <a:lnTo>
                  <a:pt x="685" y="780"/>
                </a:lnTo>
                <a:cubicBezTo>
                  <a:pt x="698" y="792"/>
                  <a:pt x="715" y="800"/>
                  <a:pt x="732" y="800"/>
                </a:cubicBezTo>
                <a:cubicBezTo>
                  <a:pt x="750" y="800"/>
                  <a:pt x="766" y="794"/>
                  <a:pt x="780" y="780"/>
                </a:cubicBezTo>
                <a:cubicBezTo>
                  <a:pt x="792" y="767"/>
                  <a:pt x="800" y="751"/>
                  <a:pt x="800" y="732"/>
                </a:cubicBezTo>
                <a:cubicBezTo>
                  <a:pt x="800" y="715"/>
                  <a:pt x="792" y="699"/>
                  <a:pt x="780" y="686"/>
                </a:cubicBezTo>
                <a:close/>
                <a:moveTo>
                  <a:pt x="640" y="320"/>
                </a:moveTo>
                <a:cubicBezTo>
                  <a:pt x="640" y="180"/>
                  <a:pt x="550" y="58"/>
                  <a:pt x="418" y="15"/>
                </a:cubicBezTo>
                <a:cubicBezTo>
                  <a:pt x="410" y="13"/>
                  <a:pt x="403" y="16"/>
                  <a:pt x="401" y="24"/>
                </a:cubicBezTo>
                <a:cubicBezTo>
                  <a:pt x="399" y="31"/>
                  <a:pt x="403" y="39"/>
                  <a:pt x="410" y="40"/>
                </a:cubicBezTo>
                <a:cubicBezTo>
                  <a:pt x="533" y="79"/>
                  <a:pt x="614" y="191"/>
                  <a:pt x="614" y="320"/>
                </a:cubicBezTo>
                <a:cubicBezTo>
                  <a:pt x="614" y="481"/>
                  <a:pt x="483" y="614"/>
                  <a:pt x="320" y="614"/>
                </a:cubicBezTo>
                <a:cubicBezTo>
                  <a:pt x="159" y="614"/>
                  <a:pt x="26" y="483"/>
                  <a:pt x="26" y="320"/>
                </a:cubicBezTo>
                <a:cubicBezTo>
                  <a:pt x="26" y="191"/>
                  <a:pt x="109" y="80"/>
                  <a:pt x="230" y="40"/>
                </a:cubicBezTo>
                <a:cubicBezTo>
                  <a:pt x="238" y="38"/>
                  <a:pt x="241" y="30"/>
                  <a:pt x="239" y="24"/>
                </a:cubicBezTo>
                <a:cubicBezTo>
                  <a:pt x="236" y="16"/>
                  <a:pt x="229" y="13"/>
                  <a:pt x="223" y="15"/>
                </a:cubicBezTo>
                <a:cubicBezTo>
                  <a:pt x="89" y="58"/>
                  <a:pt x="0" y="180"/>
                  <a:pt x="0" y="320"/>
                </a:cubicBezTo>
                <a:cubicBezTo>
                  <a:pt x="0" y="496"/>
                  <a:pt x="144" y="640"/>
                  <a:pt x="320" y="640"/>
                </a:cubicBezTo>
                <a:cubicBezTo>
                  <a:pt x="496" y="640"/>
                  <a:pt x="640" y="496"/>
                  <a:pt x="640" y="320"/>
                </a:cubicBezTo>
                <a:close/>
              </a:path>
            </a:pathLst>
          </a:custGeom>
          <a:solidFill>
            <a:schemeClr val="tx2">
              <a:lumMod val="50000"/>
            </a:schemeClr>
          </a:solidFill>
          <a:ln w="0">
            <a:noFill/>
            <a:prstDash val="solid"/>
            <a:round/>
          </a:ln>
        </p:spPr>
        <p:txBody>
          <a:bodyPr vert="horz" wrap="square" lIns="91424" tIns="45712" rIns="91424" bIns="45712" numCol="1" anchor="t" anchorCtr="0" compatLnSpc="1"/>
          <a:lstStyle/>
          <a:p>
            <a:pPr defTabSz="913765"/>
            <a:endParaRPr lang="en-US" sz="1200">
              <a:solidFill>
                <a:prstClr val="black"/>
              </a:solidFill>
              <a:latin typeface="Questrial"/>
            </a:endParaRP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0B62B013-B426-51B8-2091-B4D363F64F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91238" y="1590454"/>
            <a:ext cx="7557655" cy="3981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106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3000"/>
    </mc:Choice>
    <mc:Fallback xmlns="">
      <p:transition advTm="3000"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8B9AA8-747B-C8E4-8BC5-E5F3B6B36E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190DF007-A2A7-BB9E-0484-E09F101158FA}"/>
              </a:ext>
            </a:extLst>
          </p:cNvPr>
          <p:cNvSpPr txBox="1"/>
          <p:nvPr/>
        </p:nvSpPr>
        <p:spPr>
          <a:xfrm>
            <a:off x="1714365" y="4160027"/>
            <a:ext cx="3399367" cy="848953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长文本较难生成</a:t>
            </a:r>
            <a:endParaRPr lang="en-US" sz="15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F16C70D5-7BE4-6665-7315-8B831DB6B341}"/>
              </a:ext>
            </a:extLst>
          </p:cNvPr>
          <p:cNvSpPr txBox="1"/>
          <p:nvPr/>
        </p:nvSpPr>
        <p:spPr>
          <a:xfrm>
            <a:off x="2229744" y="1146602"/>
            <a:ext cx="4053651" cy="330149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3600" b="1" dirty="0">
                <a:solidFill>
                  <a:srgbClr val="404040"/>
                </a:solidFill>
                <a:latin typeface="Inter"/>
              </a:rPr>
              <a:t>字节豆包</a:t>
            </a:r>
            <a:endParaRPr lang="en-US" sz="3600" b="1" dirty="0">
              <a:solidFill>
                <a:srgbClr val="404040"/>
              </a:solidFill>
              <a:latin typeface="Inter"/>
            </a:endParaRPr>
          </a:p>
        </p:txBody>
      </p:sp>
      <p:sp>
        <p:nvSpPr>
          <p:cNvPr id="5" name="Text Placeholder 13">
            <a:extLst>
              <a:ext uri="{FF2B5EF4-FFF2-40B4-BE49-F238E27FC236}">
                <a16:creationId xmlns:a16="http://schemas.microsoft.com/office/drawing/2014/main" id="{DDB62B2C-468D-019F-35F3-C8C3B062ED1D}"/>
              </a:ext>
            </a:extLst>
          </p:cNvPr>
          <p:cNvSpPr txBox="1"/>
          <p:nvPr/>
        </p:nvSpPr>
        <p:spPr>
          <a:xfrm>
            <a:off x="1714365" y="3859423"/>
            <a:ext cx="3399367" cy="507923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500" dirty="0"/>
              <a:t>缺点</a:t>
            </a:r>
            <a:endParaRPr lang="en-US" sz="1500" dirty="0"/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A6669154-8FBA-08A2-02C4-AF5907133ABD}"/>
              </a:ext>
            </a:extLst>
          </p:cNvPr>
          <p:cNvSpPr txBox="1"/>
          <p:nvPr/>
        </p:nvSpPr>
        <p:spPr>
          <a:xfrm>
            <a:off x="1717533" y="2623856"/>
            <a:ext cx="3399367" cy="848953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特别支持国画风格生成，为传统艺术注入新活力</a:t>
            </a:r>
            <a:r>
              <a:rPr lang="zh-CN" altLang="en-US" sz="800" dirty="0"/>
              <a:t>。</a:t>
            </a:r>
            <a:endParaRPr lang="en-US" sz="15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42B0A956-E0BC-89CA-99E2-0C978990D78E}"/>
              </a:ext>
            </a:extLst>
          </p:cNvPr>
          <p:cNvSpPr txBox="1"/>
          <p:nvPr/>
        </p:nvSpPr>
        <p:spPr>
          <a:xfrm>
            <a:off x="1717533" y="2375568"/>
            <a:ext cx="3399367" cy="507923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500" dirty="0"/>
              <a:t>优点</a:t>
            </a:r>
            <a:endParaRPr lang="en-US" sz="1500" dirty="0"/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F5B85BAA-F101-2D01-3711-5614E6238B0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60081" y="4007403"/>
            <a:ext cx="360671" cy="359945"/>
          </a:xfrm>
          <a:custGeom>
            <a:avLst/>
            <a:gdLst>
              <a:gd name="T0" fmla="*/ 159 w 803"/>
              <a:gd name="T1" fmla="*/ 85 h 802"/>
              <a:gd name="T2" fmla="*/ 64 w 803"/>
              <a:gd name="T3" fmla="*/ 2 h 802"/>
              <a:gd name="T4" fmla="*/ 55 w 803"/>
              <a:gd name="T5" fmla="*/ 55 h 802"/>
              <a:gd name="T6" fmla="*/ 3 w 803"/>
              <a:gd name="T7" fmla="*/ 63 h 802"/>
              <a:gd name="T8" fmla="*/ 85 w 803"/>
              <a:gd name="T9" fmla="*/ 158 h 802"/>
              <a:gd name="T10" fmla="*/ 143 w 803"/>
              <a:gd name="T11" fmla="*/ 162 h 802"/>
              <a:gd name="T12" fmla="*/ 403 w 803"/>
              <a:gd name="T13" fmla="*/ 416 h 802"/>
              <a:gd name="T14" fmla="*/ 413 w 803"/>
              <a:gd name="T15" fmla="*/ 393 h 802"/>
              <a:gd name="T16" fmla="*/ 403 w 803"/>
              <a:gd name="T17" fmla="*/ 348 h 802"/>
              <a:gd name="T18" fmla="*/ 403 w 803"/>
              <a:gd name="T19" fmla="*/ 456 h 802"/>
              <a:gd name="T20" fmla="*/ 335 w 803"/>
              <a:gd name="T21" fmla="*/ 388 h 802"/>
              <a:gd name="T22" fmla="*/ 402 w 803"/>
              <a:gd name="T23" fmla="*/ 482 h 802"/>
              <a:gd name="T24" fmla="*/ 402 w 803"/>
              <a:gd name="T25" fmla="*/ 322 h 802"/>
              <a:gd name="T26" fmla="*/ 299 w 803"/>
              <a:gd name="T27" fmla="*/ 280 h 802"/>
              <a:gd name="T28" fmla="*/ 563 w 803"/>
              <a:gd name="T29" fmla="*/ 402 h 802"/>
              <a:gd name="T30" fmla="*/ 243 w 803"/>
              <a:gd name="T31" fmla="*/ 402 h 802"/>
              <a:gd name="T32" fmla="*/ 253 w 803"/>
              <a:gd name="T33" fmla="*/ 315 h 802"/>
              <a:gd name="T34" fmla="*/ 217 w 803"/>
              <a:gd name="T35" fmla="*/ 402 h 802"/>
              <a:gd name="T36" fmla="*/ 589 w 803"/>
              <a:gd name="T37" fmla="*/ 402 h 802"/>
              <a:gd name="T38" fmla="*/ 280 w 803"/>
              <a:gd name="T39" fmla="*/ 262 h 802"/>
              <a:gd name="T40" fmla="*/ 403 w 803"/>
              <a:gd name="T41" fmla="*/ 137 h 802"/>
              <a:gd name="T42" fmla="*/ 403 w 803"/>
              <a:gd name="T43" fmla="*/ 670 h 802"/>
              <a:gd name="T44" fmla="*/ 180 w 803"/>
              <a:gd name="T45" fmla="*/ 257 h 802"/>
              <a:gd name="T46" fmla="*/ 158 w 803"/>
              <a:gd name="T47" fmla="*/ 242 h 802"/>
              <a:gd name="T48" fmla="*/ 403 w 803"/>
              <a:gd name="T49" fmla="*/ 697 h 802"/>
              <a:gd name="T50" fmla="*/ 403 w 803"/>
              <a:gd name="T51" fmla="*/ 110 h 802"/>
              <a:gd name="T52" fmla="*/ 163 w 803"/>
              <a:gd name="T53" fmla="*/ 145 h 802"/>
              <a:gd name="T54" fmla="*/ 403 w 803"/>
              <a:gd name="T55" fmla="*/ 30 h 802"/>
              <a:gd name="T56" fmla="*/ 403 w 803"/>
              <a:gd name="T57" fmla="*/ 777 h 802"/>
              <a:gd name="T58" fmla="*/ 87 w 803"/>
              <a:gd name="T59" fmla="*/ 205 h 802"/>
              <a:gd name="T60" fmla="*/ 64 w 803"/>
              <a:gd name="T61" fmla="*/ 190 h 802"/>
              <a:gd name="T62" fmla="*/ 403 w 803"/>
              <a:gd name="T63" fmla="*/ 802 h 802"/>
              <a:gd name="T64" fmla="*/ 403 w 803"/>
              <a:gd name="T65" fmla="*/ 1 h 802"/>
              <a:gd name="T66" fmla="*/ 102 w 803"/>
              <a:gd name="T67" fmla="*/ 135 h 802"/>
              <a:gd name="T68" fmla="*/ 69 w 803"/>
              <a:gd name="T69" fmla="*/ 81 h 802"/>
              <a:gd name="T70" fmla="*/ 83 w 803"/>
              <a:gd name="T71" fmla="*/ 46 h 802"/>
              <a:gd name="T72" fmla="*/ 137 w 803"/>
              <a:gd name="T73" fmla="*/ 135 h 8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03" h="802">
                <a:moveTo>
                  <a:pt x="403" y="1"/>
                </a:moveTo>
                <a:cubicBezTo>
                  <a:pt x="314" y="1"/>
                  <a:pt x="228" y="31"/>
                  <a:pt x="159" y="85"/>
                </a:cubicBezTo>
                <a:lnTo>
                  <a:pt x="79" y="5"/>
                </a:lnTo>
                <a:cubicBezTo>
                  <a:pt x="75" y="1"/>
                  <a:pt x="69" y="0"/>
                  <a:pt x="64" y="2"/>
                </a:cubicBezTo>
                <a:cubicBezTo>
                  <a:pt x="59" y="5"/>
                  <a:pt x="55" y="10"/>
                  <a:pt x="55" y="15"/>
                </a:cubicBezTo>
                <a:lnTo>
                  <a:pt x="55" y="55"/>
                </a:lnTo>
                <a:lnTo>
                  <a:pt x="15" y="55"/>
                </a:lnTo>
                <a:cubicBezTo>
                  <a:pt x="10" y="55"/>
                  <a:pt x="5" y="59"/>
                  <a:pt x="3" y="63"/>
                </a:cubicBezTo>
                <a:cubicBezTo>
                  <a:pt x="0" y="68"/>
                  <a:pt x="2" y="75"/>
                  <a:pt x="5" y="78"/>
                </a:cubicBezTo>
                <a:lnTo>
                  <a:pt x="85" y="158"/>
                </a:lnTo>
                <a:cubicBezTo>
                  <a:pt x="88" y="161"/>
                  <a:pt x="92" y="162"/>
                  <a:pt x="95" y="162"/>
                </a:cubicBezTo>
                <a:lnTo>
                  <a:pt x="143" y="162"/>
                </a:lnTo>
                <a:lnTo>
                  <a:pt x="393" y="412"/>
                </a:lnTo>
                <a:cubicBezTo>
                  <a:pt x="395" y="415"/>
                  <a:pt x="399" y="416"/>
                  <a:pt x="403" y="416"/>
                </a:cubicBezTo>
                <a:cubicBezTo>
                  <a:pt x="407" y="416"/>
                  <a:pt x="409" y="415"/>
                  <a:pt x="413" y="412"/>
                </a:cubicBezTo>
                <a:cubicBezTo>
                  <a:pt x="418" y="407"/>
                  <a:pt x="418" y="398"/>
                  <a:pt x="413" y="393"/>
                </a:cubicBezTo>
                <a:lnTo>
                  <a:pt x="375" y="356"/>
                </a:lnTo>
                <a:cubicBezTo>
                  <a:pt x="383" y="351"/>
                  <a:pt x="392" y="348"/>
                  <a:pt x="403" y="348"/>
                </a:cubicBezTo>
                <a:cubicBezTo>
                  <a:pt x="433" y="348"/>
                  <a:pt x="457" y="372"/>
                  <a:pt x="457" y="402"/>
                </a:cubicBezTo>
                <a:cubicBezTo>
                  <a:pt x="457" y="432"/>
                  <a:pt x="433" y="456"/>
                  <a:pt x="403" y="456"/>
                </a:cubicBezTo>
                <a:cubicBezTo>
                  <a:pt x="373" y="456"/>
                  <a:pt x="349" y="432"/>
                  <a:pt x="349" y="402"/>
                </a:cubicBezTo>
                <a:cubicBezTo>
                  <a:pt x="349" y="395"/>
                  <a:pt x="343" y="388"/>
                  <a:pt x="335" y="388"/>
                </a:cubicBezTo>
                <a:cubicBezTo>
                  <a:pt x="328" y="388"/>
                  <a:pt x="322" y="395"/>
                  <a:pt x="322" y="402"/>
                </a:cubicBezTo>
                <a:cubicBezTo>
                  <a:pt x="322" y="446"/>
                  <a:pt x="358" y="482"/>
                  <a:pt x="402" y="482"/>
                </a:cubicBezTo>
                <a:cubicBezTo>
                  <a:pt x="445" y="482"/>
                  <a:pt x="482" y="446"/>
                  <a:pt x="482" y="402"/>
                </a:cubicBezTo>
                <a:cubicBezTo>
                  <a:pt x="482" y="358"/>
                  <a:pt x="445" y="322"/>
                  <a:pt x="402" y="322"/>
                </a:cubicBezTo>
                <a:cubicBezTo>
                  <a:pt x="384" y="322"/>
                  <a:pt x="368" y="327"/>
                  <a:pt x="355" y="336"/>
                </a:cubicBezTo>
                <a:lnTo>
                  <a:pt x="299" y="280"/>
                </a:lnTo>
                <a:cubicBezTo>
                  <a:pt x="328" y="255"/>
                  <a:pt x="364" y="242"/>
                  <a:pt x="403" y="242"/>
                </a:cubicBezTo>
                <a:cubicBezTo>
                  <a:pt x="492" y="242"/>
                  <a:pt x="563" y="313"/>
                  <a:pt x="563" y="402"/>
                </a:cubicBezTo>
                <a:cubicBezTo>
                  <a:pt x="563" y="491"/>
                  <a:pt x="492" y="562"/>
                  <a:pt x="403" y="562"/>
                </a:cubicBezTo>
                <a:cubicBezTo>
                  <a:pt x="314" y="562"/>
                  <a:pt x="243" y="491"/>
                  <a:pt x="243" y="402"/>
                </a:cubicBezTo>
                <a:cubicBezTo>
                  <a:pt x="243" y="379"/>
                  <a:pt x="248" y="355"/>
                  <a:pt x="259" y="332"/>
                </a:cubicBezTo>
                <a:cubicBezTo>
                  <a:pt x="263" y="326"/>
                  <a:pt x="259" y="317"/>
                  <a:pt x="253" y="315"/>
                </a:cubicBezTo>
                <a:cubicBezTo>
                  <a:pt x="247" y="311"/>
                  <a:pt x="238" y="315"/>
                  <a:pt x="235" y="321"/>
                </a:cubicBezTo>
                <a:cubicBezTo>
                  <a:pt x="223" y="347"/>
                  <a:pt x="217" y="375"/>
                  <a:pt x="217" y="402"/>
                </a:cubicBezTo>
                <a:cubicBezTo>
                  <a:pt x="217" y="505"/>
                  <a:pt x="300" y="588"/>
                  <a:pt x="403" y="588"/>
                </a:cubicBezTo>
                <a:cubicBezTo>
                  <a:pt x="505" y="588"/>
                  <a:pt x="589" y="505"/>
                  <a:pt x="589" y="402"/>
                </a:cubicBezTo>
                <a:cubicBezTo>
                  <a:pt x="589" y="300"/>
                  <a:pt x="505" y="216"/>
                  <a:pt x="403" y="216"/>
                </a:cubicBezTo>
                <a:cubicBezTo>
                  <a:pt x="358" y="216"/>
                  <a:pt x="314" y="232"/>
                  <a:pt x="280" y="262"/>
                </a:cubicBezTo>
                <a:lnTo>
                  <a:pt x="224" y="206"/>
                </a:lnTo>
                <a:cubicBezTo>
                  <a:pt x="273" y="161"/>
                  <a:pt x="337" y="137"/>
                  <a:pt x="403" y="137"/>
                </a:cubicBezTo>
                <a:cubicBezTo>
                  <a:pt x="550" y="137"/>
                  <a:pt x="669" y="257"/>
                  <a:pt x="669" y="404"/>
                </a:cubicBezTo>
                <a:cubicBezTo>
                  <a:pt x="669" y="550"/>
                  <a:pt x="549" y="670"/>
                  <a:pt x="403" y="670"/>
                </a:cubicBezTo>
                <a:cubicBezTo>
                  <a:pt x="255" y="670"/>
                  <a:pt x="137" y="550"/>
                  <a:pt x="137" y="404"/>
                </a:cubicBezTo>
                <a:cubicBezTo>
                  <a:pt x="137" y="351"/>
                  <a:pt x="152" y="301"/>
                  <a:pt x="180" y="257"/>
                </a:cubicBezTo>
                <a:cubicBezTo>
                  <a:pt x="184" y="251"/>
                  <a:pt x="183" y="242"/>
                  <a:pt x="177" y="239"/>
                </a:cubicBezTo>
                <a:cubicBezTo>
                  <a:pt x="170" y="235"/>
                  <a:pt x="162" y="236"/>
                  <a:pt x="158" y="242"/>
                </a:cubicBezTo>
                <a:cubicBezTo>
                  <a:pt x="127" y="290"/>
                  <a:pt x="109" y="346"/>
                  <a:pt x="109" y="404"/>
                </a:cubicBezTo>
                <a:cubicBezTo>
                  <a:pt x="109" y="565"/>
                  <a:pt x="240" y="697"/>
                  <a:pt x="403" y="697"/>
                </a:cubicBezTo>
                <a:cubicBezTo>
                  <a:pt x="565" y="697"/>
                  <a:pt x="697" y="566"/>
                  <a:pt x="697" y="404"/>
                </a:cubicBezTo>
                <a:cubicBezTo>
                  <a:pt x="697" y="241"/>
                  <a:pt x="565" y="110"/>
                  <a:pt x="403" y="110"/>
                </a:cubicBezTo>
                <a:cubicBezTo>
                  <a:pt x="329" y="110"/>
                  <a:pt x="259" y="137"/>
                  <a:pt x="205" y="187"/>
                </a:cubicBezTo>
                <a:lnTo>
                  <a:pt x="163" y="145"/>
                </a:lnTo>
                <a:lnTo>
                  <a:pt x="163" y="117"/>
                </a:lnTo>
                <a:cubicBezTo>
                  <a:pt x="230" y="61"/>
                  <a:pt x="315" y="30"/>
                  <a:pt x="403" y="30"/>
                </a:cubicBezTo>
                <a:cubicBezTo>
                  <a:pt x="609" y="30"/>
                  <a:pt x="777" y="197"/>
                  <a:pt x="777" y="404"/>
                </a:cubicBezTo>
                <a:cubicBezTo>
                  <a:pt x="777" y="610"/>
                  <a:pt x="609" y="777"/>
                  <a:pt x="403" y="777"/>
                </a:cubicBezTo>
                <a:cubicBezTo>
                  <a:pt x="197" y="777"/>
                  <a:pt x="29" y="610"/>
                  <a:pt x="29" y="404"/>
                </a:cubicBezTo>
                <a:cubicBezTo>
                  <a:pt x="29" y="334"/>
                  <a:pt x="49" y="265"/>
                  <a:pt x="87" y="205"/>
                </a:cubicBezTo>
                <a:cubicBezTo>
                  <a:pt x="90" y="199"/>
                  <a:pt x="89" y="190"/>
                  <a:pt x="83" y="186"/>
                </a:cubicBezTo>
                <a:cubicBezTo>
                  <a:pt x="77" y="182"/>
                  <a:pt x="68" y="184"/>
                  <a:pt x="64" y="190"/>
                </a:cubicBezTo>
                <a:cubicBezTo>
                  <a:pt x="24" y="254"/>
                  <a:pt x="3" y="327"/>
                  <a:pt x="3" y="402"/>
                </a:cubicBezTo>
                <a:cubicBezTo>
                  <a:pt x="3" y="622"/>
                  <a:pt x="183" y="802"/>
                  <a:pt x="403" y="802"/>
                </a:cubicBezTo>
                <a:cubicBezTo>
                  <a:pt x="623" y="802"/>
                  <a:pt x="803" y="622"/>
                  <a:pt x="803" y="402"/>
                </a:cubicBezTo>
                <a:cubicBezTo>
                  <a:pt x="803" y="181"/>
                  <a:pt x="623" y="1"/>
                  <a:pt x="403" y="1"/>
                </a:cubicBezTo>
                <a:close/>
                <a:moveTo>
                  <a:pt x="137" y="135"/>
                </a:moveTo>
                <a:lnTo>
                  <a:pt x="102" y="135"/>
                </a:lnTo>
                <a:lnTo>
                  <a:pt x="48" y="81"/>
                </a:lnTo>
                <a:lnTo>
                  <a:pt x="69" y="81"/>
                </a:lnTo>
                <a:cubicBezTo>
                  <a:pt x="77" y="81"/>
                  <a:pt x="83" y="75"/>
                  <a:pt x="83" y="67"/>
                </a:cubicBezTo>
                <a:lnTo>
                  <a:pt x="83" y="46"/>
                </a:lnTo>
                <a:lnTo>
                  <a:pt x="137" y="100"/>
                </a:lnTo>
                <a:lnTo>
                  <a:pt x="137" y="135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 w="0">
            <a:noFill/>
            <a:prstDash val="solid"/>
            <a:round/>
          </a:ln>
        </p:spPr>
        <p:txBody>
          <a:bodyPr vert="horz" wrap="square" lIns="91424" tIns="45712" rIns="91424" bIns="45712" numCol="1" anchor="t" anchorCtr="0" compatLnSpc="1"/>
          <a:lstStyle/>
          <a:p>
            <a:pPr defTabSz="913765"/>
            <a:endParaRPr lang="en-US" sz="1200">
              <a:solidFill>
                <a:prstClr val="black"/>
              </a:solidFill>
              <a:latin typeface="Questrial"/>
            </a:endParaRP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0714E799-C033-2056-1497-FB2EDDAC612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60751" y="2523547"/>
            <a:ext cx="360339" cy="359945"/>
          </a:xfrm>
          <a:custGeom>
            <a:avLst/>
            <a:gdLst>
              <a:gd name="T0" fmla="*/ 480 w 800"/>
              <a:gd name="T1" fmla="*/ 240 h 800"/>
              <a:gd name="T2" fmla="*/ 426 w 800"/>
              <a:gd name="T3" fmla="*/ 494 h 800"/>
              <a:gd name="T4" fmla="*/ 399 w 800"/>
              <a:gd name="T5" fmla="*/ 494 h 800"/>
              <a:gd name="T6" fmla="*/ 412 w 800"/>
              <a:gd name="T7" fmla="*/ 214 h 800"/>
              <a:gd name="T8" fmla="*/ 506 w 800"/>
              <a:gd name="T9" fmla="*/ 228 h 800"/>
              <a:gd name="T10" fmla="*/ 492 w 800"/>
              <a:gd name="T11" fmla="*/ 428 h 800"/>
              <a:gd name="T12" fmla="*/ 604 w 800"/>
              <a:gd name="T13" fmla="*/ 529 h 800"/>
              <a:gd name="T14" fmla="*/ 632 w 800"/>
              <a:gd name="T15" fmla="*/ 576 h 800"/>
              <a:gd name="T16" fmla="*/ 652 w 800"/>
              <a:gd name="T17" fmla="*/ 576 h 800"/>
              <a:gd name="T18" fmla="*/ 624 w 800"/>
              <a:gd name="T19" fmla="*/ 529 h 800"/>
              <a:gd name="T20" fmla="*/ 102 w 800"/>
              <a:gd name="T21" fmla="*/ 190 h 800"/>
              <a:gd name="T22" fmla="*/ 54 w 800"/>
              <a:gd name="T23" fmla="*/ 319 h 800"/>
              <a:gd name="T24" fmla="*/ 586 w 800"/>
              <a:gd name="T25" fmla="*/ 319 h 800"/>
              <a:gd name="T26" fmla="*/ 400 w 800"/>
              <a:gd name="T27" fmla="*/ 79 h 800"/>
              <a:gd name="T28" fmla="*/ 559 w 800"/>
              <a:gd name="T29" fmla="*/ 319 h 800"/>
              <a:gd name="T30" fmla="*/ 79 w 800"/>
              <a:gd name="T31" fmla="*/ 319 h 800"/>
              <a:gd name="T32" fmla="*/ 102 w 800"/>
              <a:gd name="T33" fmla="*/ 190 h 800"/>
              <a:gd name="T34" fmla="*/ 294 w 800"/>
              <a:gd name="T35" fmla="*/ 520 h 800"/>
              <a:gd name="T36" fmla="*/ 347 w 800"/>
              <a:gd name="T37" fmla="*/ 26 h 800"/>
              <a:gd name="T38" fmla="*/ 361 w 800"/>
              <a:gd name="T39" fmla="*/ 534 h 800"/>
              <a:gd name="T40" fmla="*/ 375 w 800"/>
              <a:gd name="T41" fmla="*/ 14 h 800"/>
              <a:gd name="T42" fmla="*/ 281 w 800"/>
              <a:gd name="T43" fmla="*/ 0 h 800"/>
              <a:gd name="T44" fmla="*/ 267 w 800"/>
              <a:gd name="T45" fmla="*/ 520 h 800"/>
              <a:gd name="T46" fmla="*/ 226 w 800"/>
              <a:gd name="T47" fmla="*/ 106 h 800"/>
              <a:gd name="T48" fmla="*/ 132 w 800"/>
              <a:gd name="T49" fmla="*/ 120 h 800"/>
              <a:gd name="T50" fmla="*/ 146 w 800"/>
              <a:gd name="T51" fmla="*/ 428 h 800"/>
              <a:gd name="T52" fmla="*/ 160 w 800"/>
              <a:gd name="T53" fmla="*/ 134 h 800"/>
              <a:gd name="T54" fmla="*/ 214 w 800"/>
              <a:gd name="T55" fmla="*/ 494 h 800"/>
              <a:gd name="T56" fmla="*/ 241 w 800"/>
              <a:gd name="T57" fmla="*/ 494 h 800"/>
              <a:gd name="T58" fmla="*/ 226 w 800"/>
              <a:gd name="T59" fmla="*/ 106 h 800"/>
              <a:gd name="T60" fmla="*/ 686 w 800"/>
              <a:gd name="T61" fmla="*/ 592 h 800"/>
              <a:gd name="T62" fmla="*/ 676 w 800"/>
              <a:gd name="T63" fmla="*/ 589 h 800"/>
              <a:gd name="T64" fmla="*/ 629 w 800"/>
              <a:gd name="T65" fmla="*/ 630 h 800"/>
              <a:gd name="T66" fmla="*/ 648 w 800"/>
              <a:gd name="T67" fmla="*/ 649 h 800"/>
              <a:gd name="T68" fmla="*/ 760 w 800"/>
              <a:gd name="T69" fmla="*/ 704 h 800"/>
              <a:gd name="T70" fmla="*/ 760 w 800"/>
              <a:gd name="T71" fmla="*/ 761 h 800"/>
              <a:gd name="T72" fmla="*/ 546 w 800"/>
              <a:gd name="T73" fmla="*/ 604 h 800"/>
              <a:gd name="T74" fmla="*/ 528 w 800"/>
              <a:gd name="T75" fmla="*/ 622 h 800"/>
              <a:gd name="T76" fmla="*/ 732 w 800"/>
              <a:gd name="T77" fmla="*/ 800 h 800"/>
              <a:gd name="T78" fmla="*/ 800 w 800"/>
              <a:gd name="T79" fmla="*/ 732 h 800"/>
              <a:gd name="T80" fmla="*/ 640 w 800"/>
              <a:gd name="T81" fmla="*/ 320 h 800"/>
              <a:gd name="T82" fmla="*/ 401 w 800"/>
              <a:gd name="T83" fmla="*/ 24 h 800"/>
              <a:gd name="T84" fmla="*/ 614 w 800"/>
              <a:gd name="T85" fmla="*/ 320 h 800"/>
              <a:gd name="T86" fmla="*/ 26 w 800"/>
              <a:gd name="T87" fmla="*/ 320 h 800"/>
              <a:gd name="T88" fmla="*/ 239 w 800"/>
              <a:gd name="T89" fmla="*/ 24 h 800"/>
              <a:gd name="T90" fmla="*/ 0 w 800"/>
              <a:gd name="T91" fmla="*/ 320 h 800"/>
              <a:gd name="T92" fmla="*/ 640 w 800"/>
              <a:gd name="T93" fmla="*/ 320 h 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800" h="800">
                <a:moveTo>
                  <a:pt x="480" y="414"/>
                </a:moveTo>
                <a:lnTo>
                  <a:pt x="480" y="240"/>
                </a:lnTo>
                <a:lnTo>
                  <a:pt x="426" y="240"/>
                </a:lnTo>
                <a:lnTo>
                  <a:pt x="426" y="494"/>
                </a:lnTo>
                <a:cubicBezTo>
                  <a:pt x="426" y="501"/>
                  <a:pt x="420" y="508"/>
                  <a:pt x="412" y="508"/>
                </a:cubicBezTo>
                <a:cubicBezTo>
                  <a:pt x="405" y="508"/>
                  <a:pt x="399" y="501"/>
                  <a:pt x="399" y="494"/>
                </a:cubicBezTo>
                <a:lnTo>
                  <a:pt x="399" y="228"/>
                </a:lnTo>
                <a:cubicBezTo>
                  <a:pt x="399" y="220"/>
                  <a:pt x="405" y="214"/>
                  <a:pt x="412" y="214"/>
                </a:cubicBezTo>
                <a:lnTo>
                  <a:pt x="492" y="214"/>
                </a:lnTo>
                <a:cubicBezTo>
                  <a:pt x="500" y="214"/>
                  <a:pt x="506" y="220"/>
                  <a:pt x="506" y="228"/>
                </a:cubicBezTo>
                <a:lnTo>
                  <a:pt x="506" y="414"/>
                </a:lnTo>
                <a:cubicBezTo>
                  <a:pt x="506" y="421"/>
                  <a:pt x="500" y="428"/>
                  <a:pt x="492" y="428"/>
                </a:cubicBezTo>
                <a:cubicBezTo>
                  <a:pt x="486" y="426"/>
                  <a:pt x="480" y="421"/>
                  <a:pt x="480" y="414"/>
                </a:cubicBezTo>
                <a:close/>
                <a:moveTo>
                  <a:pt x="604" y="529"/>
                </a:moveTo>
                <a:cubicBezTo>
                  <a:pt x="599" y="534"/>
                  <a:pt x="599" y="543"/>
                  <a:pt x="604" y="547"/>
                </a:cubicBezTo>
                <a:lnTo>
                  <a:pt x="632" y="576"/>
                </a:lnTo>
                <a:cubicBezTo>
                  <a:pt x="635" y="579"/>
                  <a:pt x="639" y="580"/>
                  <a:pt x="642" y="580"/>
                </a:cubicBezTo>
                <a:cubicBezTo>
                  <a:pt x="646" y="580"/>
                  <a:pt x="649" y="579"/>
                  <a:pt x="652" y="576"/>
                </a:cubicBezTo>
                <a:cubicBezTo>
                  <a:pt x="657" y="571"/>
                  <a:pt x="657" y="562"/>
                  <a:pt x="652" y="558"/>
                </a:cubicBezTo>
                <a:lnTo>
                  <a:pt x="624" y="529"/>
                </a:lnTo>
                <a:cubicBezTo>
                  <a:pt x="617" y="522"/>
                  <a:pt x="609" y="522"/>
                  <a:pt x="604" y="529"/>
                </a:cubicBezTo>
                <a:close/>
                <a:moveTo>
                  <a:pt x="102" y="190"/>
                </a:moveTo>
                <a:cubicBezTo>
                  <a:pt x="96" y="186"/>
                  <a:pt x="87" y="189"/>
                  <a:pt x="85" y="195"/>
                </a:cubicBezTo>
                <a:cubicBezTo>
                  <a:pt x="65" y="232"/>
                  <a:pt x="54" y="276"/>
                  <a:pt x="54" y="319"/>
                </a:cubicBezTo>
                <a:cubicBezTo>
                  <a:pt x="54" y="466"/>
                  <a:pt x="174" y="585"/>
                  <a:pt x="320" y="585"/>
                </a:cubicBezTo>
                <a:cubicBezTo>
                  <a:pt x="467" y="585"/>
                  <a:pt x="586" y="465"/>
                  <a:pt x="586" y="319"/>
                </a:cubicBezTo>
                <a:cubicBezTo>
                  <a:pt x="586" y="209"/>
                  <a:pt x="520" y="111"/>
                  <a:pt x="417" y="71"/>
                </a:cubicBezTo>
                <a:cubicBezTo>
                  <a:pt x="411" y="69"/>
                  <a:pt x="402" y="72"/>
                  <a:pt x="400" y="79"/>
                </a:cubicBezTo>
                <a:cubicBezTo>
                  <a:pt x="397" y="85"/>
                  <a:pt x="401" y="94"/>
                  <a:pt x="407" y="96"/>
                </a:cubicBezTo>
                <a:cubicBezTo>
                  <a:pt x="500" y="132"/>
                  <a:pt x="559" y="220"/>
                  <a:pt x="559" y="319"/>
                </a:cubicBezTo>
                <a:cubicBezTo>
                  <a:pt x="559" y="451"/>
                  <a:pt x="451" y="559"/>
                  <a:pt x="319" y="559"/>
                </a:cubicBezTo>
                <a:cubicBezTo>
                  <a:pt x="186" y="559"/>
                  <a:pt x="79" y="451"/>
                  <a:pt x="79" y="319"/>
                </a:cubicBezTo>
                <a:cubicBezTo>
                  <a:pt x="79" y="280"/>
                  <a:pt x="89" y="241"/>
                  <a:pt x="106" y="207"/>
                </a:cubicBezTo>
                <a:cubicBezTo>
                  <a:pt x="111" y="201"/>
                  <a:pt x="109" y="194"/>
                  <a:pt x="102" y="190"/>
                </a:cubicBezTo>
                <a:close/>
                <a:moveTo>
                  <a:pt x="280" y="534"/>
                </a:moveTo>
                <a:cubicBezTo>
                  <a:pt x="287" y="534"/>
                  <a:pt x="294" y="527"/>
                  <a:pt x="294" y="520"/>
                </a:cubicBezTo>
                <a:lnTo>
                  <a:pt x="294" y="26"/>
                </a:lnTo>
                <a:lnTo>
                  <a:pt x="347" y="26"/>
                </a:lnTo>
                <a:lnTo>
                  <a:pt x="347" y="520"/>
                </a:lnTo>
                <a:cubicBezTo>
                  <a:pt x="347" y="527"/>
                  <a:pt x="354" y="534"/>
                  <a:pt x="361" y="534"/>
                </a:cubicBezTo>
                <a:cubicBezTo>
                  <a:pt x="369" y="534"/>
                  <a:pt x="375" y="527"/>
                  <a:pt x="375" y="520"/>
                </a:cubicBezTo>
                <a:lnTo>
                  <a:pt x="375" y="14"/>
                </a:lnTo>
                <a:cubicBezTo>
                  <a:pt x="375" y="6"/>
                  <a:pt x="369" y="0"/>
                  <a:pt x="361" y="0"/>
                </a:cubicBezTo>
                <a:lnTo>
                  <a:pt x="281" y="0"/>
                </a:lnTo>
                <a:cubicBezTo>
                  <a:pt x="274" y="0"/>
                  <a:pt x="267" y="6"/>
                  <a:pt x="267" y="14"/>
                </a:cubicBezTo>
                <a:lnTo>
                  <a:pt x="267" y="520"/>
                </a:lnTo>
                <a:cubicBezTo>
                  <a:pt x="266" y="527"/>
                  <a:pt x="272" y="534"/>
                  <a:pt x="280" y="534"/>
                </a:cubicBezTo>
                <a:close/>
                <a:moveTo>
                  <a:pt x="226" y="106"/>
                </a:moveTo>
                <a:lnTo>
                  <a:pt x="146" y="106"/>
                </a:lnTo>
                <a:cubicBezTo>
                  <a:pt x="139" y="106"/>
                  <a:pt x="132" y="112"/>
                  <a:pt x="132" y="120"/>
                </a:cubicBezTo>
                <a:lnTo>
                  <a:pt x="132" y="414"/>
                </a:lnTo>
                <a:cubicBezTo>
                  <a:pt x="132" y="421"/>
                  <a:pt x="139" y="428"/>
                  <a:pt x="146" y="428"/>
                </a:cubicBezTo>
                <a:cubicBezTo>
                  <a:pt x="154" y="428"/>
                  <a:pt x="160" y="421"/>
                  <a:pt x="160" y="414"/>
                </a:cubicBezTo>
                <a:lnTo>
                  <a:pt x="160" y="134"/>
                </a:lnTo>
                <a:lnTo>
                  <a:pt x="214" y="134"/>
                </a:lnTo>
                <a:lnTo>
                  <a:pt x="214" y="494"/>
                </a:lnTo>
                <a:cubicBezTo>
                  <a:pt x="214" y="501"/>
                  <a:pt x="220" y="508"/>
                  <a:pt x="227" y="508"/>
                </a:cubicBezTo>
                <a:cubicBezTo>
                  <a:pt x="235" y="508"/>
                  <a:pt x="241" y="501"/>
                  <a:pt x="241" y="494"/>
                </a:cubicBezTo>
                <a:lnTo>
                  <a:pt x="241" y="120"/>
                </a:lnTo>
                <a:cubicBezTo>
                  <a:pt x="240" y="112"/>
                  <a:pt x="234" y="106"/>
                  <a:pt x="226" y="106"/>
                </a:cubicBezTo>
                <a:close/>
                <a:moveTo>
                  <a:pt x="780" y="686"/>
                </a:moveTo>
                <a:lnTo>
                  <a:pt x="686" y="592"/>
                </a:lnTo>
                <a:cubicBezTo>
                  <a:pt x="684" y="590"/>
                  <a:pt x="680" y="589"/>
                  <a:pt x="676" y="589"/>
                </a:cubicBezTo>
                <a:lnTo>
                  <a:pt x="676" y="589"/>
                </a:lnTo>
                <a:cubicBezTo>
                  <a:pt x="673" y="589"/>
                  <a:pt x="669" y="590"/>
                  <a:pt x="666" y="592"/>
                </a:cubicBezTo>
                <a:lnTo>
                  <a:pt x="629" y="630"/>
                </a:lnTo>
                <a:cubicBezTo>
                  <a:pt x="624" y="635"/>
                  <a:pt x="624" y="644"/>
                  <a:pt x="629" y="649"/>
                </a:cubicBezTo>
                <a:cubicBezTo>
                  <a:pt x="634" y="654"/>
                  <a:pt x="643" y="654"/>
                  <a:pt x="648" y="649"/>
                </a:cubicBezTo>
                <a:lnTo>
                  <a:pt x="676" y="620"/>
                </a:lnTo>
                <a:lnTo>
                  <a:pt x="760" y="704"/>
                </a:lnTo>
                <a:cubicBezTo>
                  <a:pt x="768" y="711"/>
                  <a:pt x="771" y="721"/>
                  <a:pt x="771" y="732"/>
                </a:cubicBezTo>
                <a:cubicBezTo>
                  <a:pt x="771" y="744"/>
                  <a:pt x="768" y="754"/>
                  <a:pt x="760" y="761"/>
                </a:cubicBezTo>
                <a:cubicBezTo>
                  <a:pt x="745" y="776"/>
                  <a:pt x="719" y="776"/>
                  <a:pt x="704" y="761"/>
                </a:cubicBezTo>
                <a:lnTo>
                  <a:pt x="546" y="604"/>
                </a:lnTo>
                <a:cubicBezTo>
                  <a:pt x="541" y="599"/>
                  <a:pt x="532" y="599"/>
                  <a:pt x="528" y="604"/>
                </a:cubicBezTo>
                <a:cubicBezTo>
                  <a:pt x="523" y="609"/>
                  <a:pt x="523" y="617"/>
                  <a:pt x="528" y="622"/>
                </a:cubicBezTo>
                <a:lnTo>
                  <a:pt x="685" y="780"/>
                </a:lnTo>
                <a:cubicBezTo>
                  <a:pt x="698" y="792"/>
                  <a:pt x="715" y="800"/>
                  <a:pt x="732" y="800"/>
                </a:cubicBezTo>
                <a:cubicBezTo>
                  <a:pt x="750" y="800"/>
                  <a:pt x="766" y="794"/>
                  <a:pt x="780" y="780"/>
                </a:cubicBezTo>
                <a:cubicBezTo>
                  <a:pt x="792" y="767"/>
                  <a:pt x="800" y="751"/>
                  <a:pt x="800" y="732"/>
                </a:cubicBezTo>
                <a:cubicBezTo>
                  <a:pt x="800" y="715"/>
                  <a:pt x="792" y="699"/>
                  <a:pt x="780" y="686"/>
                </a:cubicBezTo>
                <a:close/>
                <a:moveTo>
                  <a:pt x="640" y="320"/>
                </a:moveTo>
                <a:cubicBezTo>
                  <a:pt x="640" y="180"/>
                  <a:pt x="550" y="58"/>
                  <a:pt x="418" y="15"/>
                </a:cubicBezTo>
                <a:cubicBezTo>
                  <a:pt x="410" y="13"/>
                  <a:pt x="403" y="16"/>
                  <a:pt x="401" y="24"/>
                </a:cubicBezTo>
                <a:cubicBezTo>
                  <a:pt x="399" y="31"/>
                  <a:pt x="403" y="39"/>
                  <a:pt x="410" y="40"/>
                </a:cubicBezTo>
                <a:cubicBezTo>
                  <a:pt x="533" y="79"/>
                  <a:pt x="614" y="191"/>
                  <a:pt x="614" y="320"/>
                </a:cubicBezTo>
                <a:cubicBezTo>
                  <a:pt x="614" y="481"/>
                  <a:pt x="483" y="614"/>
                  <a:pt x="320" y="614"/>
                </a:cubicBezTo>
                <a:cubicBezTo>
                  <a:pt x="159" y="614"/>
                  <a:pt x="26" y="483"/>
                  <a:pt x="26" y="320"/>
                </a:cubicBezTo>
                <a:cubicBezTo>
                  <a:pt x="26" y="191"/>
                  <a:pt x="109" y="80"/>
                  <a:pt x="230" y="40"/>
                </a:cubicBezTo>
                <a:cubicBezTo>
                  <a:pt x="238" y="38"/>
                  <a:pt x="241" y="30"/>
                  <a:pt x="239" y="24"/>
                </a:cubicBezTo>
                <a:cubicBezTo>
                  <a:pt x="236" y="16"/>
                  <a:pt x="229" y="13"/>
                  <a:pt x="223" y="15"/>
                </a:cubicBezTo>
                <a:cubicBezTo>
                  <a:pt x="89" y="58"/>
                  <a:pt x="0" y="180"/>
                  <a:pt x="0" y="320"/>
                </a:cubicBezTo>
                <a:cubicBezTo>
                  <a:pt x="0" y="496"/>
                  <a:pt x="144" y="640"/>
                  <a:pt x="320" y="640"/>
                </a:cubicBezTo>
                <a:cubicBezTo>
                  <a:pt x="496" y="640"/>
                  <a:pt x="640" y="496"/>
                  <a:pt x="640" y="320"/>
                </a:cubicBezTo>
                <a:close/>
              </a:path>
            </a:pathLst>
          </a:custGeom>
          <a:solidFill>
            <a:schemeClr val="tx2">
              <a:lumMod val="50000"/>
            </a:schemeClr>
          </a:solidFill>
          <a:ln w="0">
            <a:noFill/>
            <a:prstDash val="solid"/>
            <a:round/>
          </a:ln>
        </p:spPr>
        <p:txBody>
          <a:bodyPr vert="horz" wrap="square" lIns="91424" tIns="45712" rIns="91424" bIns="45712" numCol="1" anchor="t" anchorCtr="0" compatLnSpc="1"/>
          <a:lstStyle/>
          <a:p>
            <a:pPr defTabSz="913765"/>
            <a:endParaRPr lang="en-US" sz="1200">
              <a:solidFill>
                <a:prstClr val="black"/>
              </a:solidFill>
              <a:latin typeface="Questrial"/>
            </a:endParaRP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16A1BD87-B9FD-531C-0775-36FDD07E17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67739" y="1695471"/>
            <a:ext cx="7620000" cy="4014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3900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3000"/>
    </mc:Choice>
    <mc:Fallback xmlns="">
      <p:transition advTm="3000"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B7C9C0-F1E6-03E9-D67C-A098ABB280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03F0743A-6E16-1C8D-1BFE-AEE622180956}"/>
              </a:ext>
            </a:extLst>
          </p:cNvPr>
          <p:cNvSpPr txBox="1"/>
          <p:nvPr/>
        </p:nvSpPr>
        <p:spPr>
          <a:xfrm>
            <a:off x="1714365" y="4160027"/>
            <a:ext cx="3399367" cy="848953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创意内容生成弱、多轮对话易偏离主题</a:t>
            </a:r>
            <a:endParaRPr lang="en-US" sz="14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99EC3CA5-E99F-2CB7-D0BD-F406EEC733CE}"/>
              </a:ext>
            </a:extLst>
          </p:cNvPr>
          <p:cNvSpPr txBox="1"/>
          <p:nvPr/>
        </p:nvSpPr>
        <p:spPr>
          <a:xfrm>
            <a:off x="2408648" y="1169963"/>
            <a:ext cx="4053651" cy="330149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3600" b="1" dirty="0">
                <a:solidFill>
                  <a:srgbClr val="404040"/>
                </a:solidFill>
                <a:latin typeface="Inter"/>
              </a:rPr>
              <a:t>讯飞星火</a:t>
            </a:r>
            <a:endParaRPr lang="en-US" sz="3600" b="1" dirty="0">
              <a:solidFill>
                <a:srgbClr val="404040"/>
              </a:solidFill>
              <a:latin typeface="Inter"/>
            </a:endParaRPr>
          </a:p>
        </p:txBody>
      </p:sp>
      <p:sp>
        <p:nvSpPr>
          <p:cNvPr id="5" name="Text Placeholder 13">
            <a:extLst>
              <a:ext uri="{FF2B5EF4-FFF2-40B4-BE49-F238E27FC236}">
                <a16:creationId xmlns:a16="http://schemas.microsoft.com/office/drawing/2014/main" id="{1621CBB9-9226-47E8-DAFC-4D18A47ED09F}"/>
              </a:ext>
            </a:extLst>
          </p:cNvPr>
          <p:cNvSpPr txBox="1"/>
          <p:nvPr/>
        </p:nvSpPr>
        <p:spPr>
          <a:xfrm>
            <a:off x="1714365" y="3859423"/>
            <a:ext cx="3399367" cy="507923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500" dirty="0"/>
              <a:t>缺点</a:t>
            </a:r>
            <a:endParaRPr lang="en-US" sz="1500" dirty="0"/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CB5C83A7-91E4-295F-6E74-F782E9F8F51D}"/>
              </a:ext>
            </a:extLst>
          </p:cNvPr>
          <p:cNvSpPr txBox="1"/>
          <p:nvPr/>
        </p:nvSpPr>
        <p:spPr>
          <a:xfrm>
            <a:off x="1717533" y="2623856"/>
            <a:ext cx="3399367" cy="848953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在</a:t>
            </a: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K12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教育场景覆盖最全，支持</a:t>
            </a: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9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科题目解答，适用于教育辅导；</a:t>
            </a:r>
            <a:b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硬件成本低，可在</a:t>
            </a: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T4 GPU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上部署，降低应用门槛</a:t>
            </a:r>
            <a:r>
              <a:rPr lang="zh-CN" altLang="en-US" sz="800" dirty="0"/>
              <a:t>。</a:t>
            </a:r>
            <a:endParaRPr lang="en-US" sz="15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62EF09D7-BFAA-DE69-F8B9-B974838D9CA5}"/>
              </a:ext>
            </a:extLst>
          </p:cNvPr>
          <p:cNvSpPr txBox="1"/>
          <p:nvPr/>
        </p:nvSpPr>
        <p:spPr>
          <a:xfrm>
            <a:off x="1717533" y="2375568"/>
            <a:ext cx="3399367" cy="507923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500" dirty="0"/>
              <a:t>优点</a:t>
            </a:r>
            <a:endParaRPr lang="en-US" sz="1500" dirty="0"/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8E9C6C5C-537F-196D-08A5-A56A58171BD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60081" y="4007403"/>
            <a:ext cx="360671" cy="359945"/>
          </a:xfrm>
          <a:custGeom>
            <a:avLst/>
            <a:gdLst>
              <a:gd name="T0" fmla="*/ 159 w 803"/>
              <a:gd name="T1" fmla="*/ 85 h 802"/>
              <a:gd name="T2" fmla="*/ 64 w 803"/>
              <a:gd name="T3" fmla="*/ 2 h 802"/>
              <a:gd name="T4" fmla="*/ 55 w 803"/>
              <a:gd name="T5" fmla="*/ 55 h 802"/>
              <a:gd name="T6" fmla="*/ 3 w 803"/>
              <a:gd name="T7" fmla="*/ 63 h 802"/>
              <a:gd name="T8" fmla="*/ 85 w 803"/>
              <a:gd name="T9" fmla="*/ 158 h 802"/>
              <a:gd name="T10" fmla="*/ 143 w 803"/>
              <a:gd name="T11" fmla="*/ 162 h 802"/>
              <a:gd name="T12" fmla="*/ 403 w 803"/>
              <a:gd name="T13" fmla="*/ 416 h 802"/>
              <a:gd name="T14" fmla="*/ 413 w 803"/>
              <a:gd name="T15" fmla="*/ 393 h 802"/>
              <a:gd name="T16" fmla="*/ 403 w 803"/>
              <a:gd name="T17" fmla="*/ 348 h 802"/>
              <a:gd name="T18" fmla="*/ 403 w 803"/>
              <a:gd name="T19" fmla="*/ 456 h 802"/>
              <a:gd name="T20" fmla="*/ 335 w 803"/>
              <a:gd name="T21" fmla="*/ 388 h 802"/>
              <a:gd name="T22" fmla="*/ 402 w 803"/>
              <a:gd name="T23" fmla="*/ 482 h 802"/>
              <a:gd name="T24" fmla="*/ 402 w 803"/>
              <a:gd name="T25" fmla="*/ 322 h 802"/>
              <a:gd name="T26" fmla="*/ 299 w 803"/>
              <a:gd name="T27" fmla="*/ 280 h 802"/>
              <a:gd name="T28" fmla="*/ 563 w 803"/>
              <a:gd name="T29" fmla="*/ 402 h 802"/>
              <a:gd name="T30" fmla="*/ 243 w 803"/>
              <a:gd name="T31" fmla="*/ 402 h 802"/>
              <a:gd name="T32" fmla="*/ 253 w 803"/>
              <a:gd name="T33" fmla="*/ 315 h 802"/>
              <a:gd name="T34" fmla="*/ 217 w 803"/>
              <a:gd name="T35" fmla="*/ 402 h 802"/>
              <a:gd name="T36" fmla="*/ 589 w 803"/>
              <a:gd name="T37" fmla="*/ 402 h 802"/>
              <a:gd name="T38" fmla="*/ 280 w 803"/>
              <a:gd name="T39" fmla="*/ 262 h 802"/>
              <a:gd name="T40" fmla="*/ 403 w 803"/>
              <a:gd name="T41" fmla="*/ 137 h 802"/>
              <a:gd name="T42" fmla="*/ 403 w 803"/>
              <a:gd name="T43" fmla="*/ 670 h 802"/>
              <a:gd name="T44" fmla="*/ 180 w 803"/>
              <a:gd name="T45" fmla="*/ 257 h 802"/>
              <a:gd name="T46" fmla="*/ 158 w 803"/>
              <a:gd name="T47" fmla="*/ 242 h 802"/>
              <a:gd name="T48" fmla="*/ 403 w 803"/>
              <a:gd name="T49" fmla="*/ 697 h 802"/>
              <a:gd name="T50" fmla="*/ 403 w 803"/>
              <a:gd name="T51" fmla="*/ 110 h 802"/>
              <a:gd name="T52" fmla="*/ 163 w 803"/>
              <a:gd name="T53" fmla="*/ 145 h 802"/>
              <a:gd name="T54" fmla="*/ 403 w 803"/>
              <a:gd name="T55" fmla="*/ 30 h 802"/>
              <a:gd name="T56" fmla="*/ 403 w 803"/>
              <a:gd name="T57" fmla="*/ 777 h 802"/>
              <a:gd name="T58" fmla="*/ 87 w 803"/>
              <a:gd name="T59" fmla="*/ 205 h 802"/>
              <a:gd name="T60" fmla="*/ 64 w 803"/>
              <a:gd name="T61" fmla="*/ 190 h 802"/>
              <a:gd name="T62" fmla="*/ 403 w 803"/>
              <a:gd name="T63" fmla="*/ 802 h 802"/>
              <a:gd name="T64" fmla="*/ 403 w 803"/>
              <a:gd name="T65" fmla="*/ 1 h 802"/>
              <a:gd name="T66" fmla="*/ 102 w 803"/>
              <a:gd name="T67" fmla="*/ 135 h 802"/>
              <a:gd name="T68" fmla="*/ 69 w 803"/>
              <a:gd name="T69" fmla="*/ 81 h 802"/>
              <a:gd name="T70" fmla="*/ 83 w 803"/>
              <a:gd name="T71" fmla="*/ 46 h 802"/>
              <a:gd name="T72" fmla="*/ 137 w 803"/>
              <a:gd name="T73" fmla="*/ 135 h 8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03" h="802">
                <a:moveTo>
                  <a:pt x="403" y="1"/>
                </a:moveTo>
                <a:cubicBezTo>
                  <a:pt x="314" y="1"/>
                  <a:pt x="228" y="31"/>
                  <a:pt x="159" y="85"/>
                </a:cubicBezTo>
                <a:lnTo>
                  <a:pt x="79" y="5"/>
                </a:lnTo>
                <a:cubicBezTo>
                  <a:pt x="75" y="1"/>
                  <a:pt x="69" y="0"/>
                  <a:pt x="64" y="2"/>
                </a:cubicBezTo>
                <a:cubicBezTo>
                  <a:pt x="59" y="5"/>
                  <a:pt x="55" y="10"/>
                  <a:pt x="55" y="15"/>
                </a:cubicBezTo>
                <a:lnTo>
                  <a:pt x="55" y="55"/>
                </a:lnTo>
                <a:lnTo>
                  <a:pt x="15" y="55"/>
                </a:lnTo>
                <a:cubicBezTo>
                  <a:pt x="10" y="55"/>
                  <a:pt x="5" y="59"/>
                  <a:pt x="3" y="63"/>
                </a:cubicBezTo>
                <a:cubicBezTo>
                  <a:pt x="0" y="68"/>
                  <a:pt x="2" y="75"/>
                  <a:pt x="5" y="78"/>
                </a:cubicBezTo>
                <a:lnTo>
                  <a:pt x="85" y="158"/>
                </a:lnTo>
                <a:cubicBezTo>
                  <a:pt x="88" y="161"/>
                  <a:pt x="92" y="162"/>
                  <a:pt x="95" y="162"/>
                </a:cubicBezTo>
                <a:lnTo>
                  <a:pt x="143" y="162"/>
                </a:lnTo>
                <a:lnTo>
                  <a:pt x="393" y="412"/>
                </a:lnTo>
                <a:cubicBezTo>
                  <a:pt x="395" y="415"/>
                  <a:pt x="399" y="416"/>
                  <a:pt x="403" y="416"/>
                </a:cubicBezTo>
                <a:cubicBezTo>
                  <a:pt x="407" y="416"/>
                  <a:pt x="409" y="415"/>
                  <a:pt x="413" y="412"/>
                </a:cubicBezTo>
                <a:cubicBezTo>
                  <a:pt x="418" y="407"/>
                  <a:pt x="418" y="398"/>
                  <a:pt x="413" y="393"/>
                </a:cubicBezTo>
                <a:lnTo>
                  <a:pt x="375" y="356"/>
                </a:lnTo>
                <a:cubicBezTo>
                  <a:pt x="383" y="351"/>
                  <a:pt x="392" y="348"/>
                  <a:pt x="403" y="348"/>
                </a:cubicBezTo>
                <a:cubicBezTo>
                  <a:pt x="433" y="348"/>
                  <a:pt x="457" y="372"/>
                  <a:pt x="457" y="402"/>
                </a:cubicBezTo>
                <a:cubicBezTo>
                  <a:pt x="457" y="432"/>
                  <a:pt x="433" y="456"/>
                  <a:pt x="403" y="456"/>
                </a:cubicBezTo>
                <a:cubicBezTo>
                  <a:pt x="373" y="456"/>
                  <a:pt x="349" y="432"/>
                  <a:pt x="349" y="402"/>
                </a:cubicBezTo>
                <a:cubicBezTo>
                  <a:pt x="349" y="395"/>
                  <a:pt x="343" y="388"/>
                  <a:pt x="335" y="388"/>
                </a:cubicBezTo>
                <a:cubicBezTo>
                  <a:pt x="328" y="388"/>
                  <a:pt x="322" y="395"/>
                  <a:pt x="322" y="402"/>
                </a:cubicBezTo>
                <a:cubicBezTo>
                  <a:pt x="322" y="446"/>
                  <a:pt x="358" y="482"/>
                  <a:pt x="402" y="482"/>
                </a:cubicBezTo>
                <a:cubicBezTo>
                  <a:pt x="445" y="482"/>
                  <a:pt x="482" y="446"/>
                  <a:pt x="482" y="402"/>
                </a:cubicBezTo>
                <a:cubicBezTo>
                  <a:pt x="482" y="358"/>
                  <a:pt x="445" y="322"/>
                  <a:pt x="402" y="322"/>
                </a:cubicBezTo>
                <a:cubicBezTo>
                  <a:pt x="384" y="322"/>
                  <a:pt x="368" y="327"/>
                  <a:pt x="355" y="336"/>
                </a:cubicBezTo>
                <a:lnTo>
                  <a:pt x="299" y="280"/>
                </a:lnTo>
                <a:cubicBezTo>
                  <a:pt x="328" y="255"/>
                  <a:pt x="364" y="242"/>
                  <a:pt x="403" y="242"/>
                </a:cubicBezTo>
                <a:cubicBezTo>
                  <a:pt x="492" y="242"/>
                  <a:pt x="563" y="313"/>
                  <a:pt x="563" y="402"/>
                </a:cubicBezTo>
                <a:cubicBezTo>
                  <a:pt x="563" y="491"/>
                  <a:pt x="492" y="562"/>
                  <a:pt x="403" y="562"/>
                </a:cubicBezTo>
                <a:cubicBezTo>
                  <a:pt x="314" y="562"/>
                  <a:pt x="243" y="491"/>
                  <a:pt x="243" y="402"/>
                </a:cubicBezTo>
                <a:cubicBezTo>
                  <a:pt x="243" y="379"/>
                  <a:pt x="248" y="355"/>
                  <a:pt x="259" y="332"/>
                </a:cubicBezTo>
                <a:cubicBezTo>
                  <a:pt x="263" y="326"/>
                  <a:pt x="259" y="317"/>
                  <a:pt x="253" y="315"/>
                </a:cubicBezTo>
                <a:cubicBezTo>
                  <a:pt x="247" y="311"/>
                  <a:pt x="238" y="315"/>
                  <a:pt x="235" y="321"/>
                </a:cubicBezTo>
                <a:cubicBezTo>
                  <a:pt x="223" y="347"/>
                  <a:pt x="217" y="375"/>
                  <a:pt x="217" y="402"/>
                </a:cubicBezTo>
                <a:cubicBezTo>
                  <a:pt x="217" y="505"/>
                  <a:pt x="300" y="588"/>
                  <a:pt x="403" y="588"/>
                </a:cubicBezTo>
                <a:cubicBezTo>
                  <a:pt x="505" y="588"/>
                  <a:pt x="589" y="505"/>
                  <a:pt x="589" y="402"/>
                </a:cubicBezTo>
                <a:cubicBezTo>
                  <a:pt x="589" y="300"/>
                  <a:pt x="505" y="216"/>
                  <a:pt x="403" y="216"/>
                </a:cubicBezTo>
                <a:cubicBezTo>
                  <a:pt x="358" y="216"/>
                  <a:pt x="314" y="232"/>
                  <a:pt x="280" y="262"/>
                </a:cubicBezTo>
                <a:lnTo>
                  <a:pt x="224" y="206"/>
                </a:lnTo>
                <a:cubicBezTo>
                  <a:pt x="273" y="161"/>
                  <a:pt x="337" y="137"/>
                  <a:pt x="403" y="137"/>
                </a:cubicBezTo>
                <a:cubicBezTo>
                  <a:pt x="550" y="137"/>
                  <a:pt x="669" y="257"/>
                  <a:pt x="669" y="404"/>
                </a:cubicBezTo>
                <a:cubicBezTo>
                  <a:pt x="669" y="550"/>
                  <a:pt x="549" y="670"/>
                  <a:pt x="403" y="670"/>
                </a:cubicBezTo>
                <a:cubicBezTo>
                  <a:pt x="255" y="670"/>
                  <a:pt x="137" y="550"/>
                  <a:pt x="137" y="404"/>
                </a:cubicBezTo>
                <a:cubicBezTo>
                  <a:pt x="137" y="351"/>
                  <a:pt x="152" y="301"/>
                  <a:pt x="180" y="257"/>
                </a:cubicBezTo>
                <a:cubicBezTo>
                  <a:pt x="184" y="251"/>
                  <a:pt x="183" y="242"/>
                  <a:pt x="177" y="239"/>
                </a:cubicBezTo>
                <a:cubicBezTo>
                  <a:pt x="170" y="235"/>
                  <a:pt x="162" y="236"/>
                  <a:pt x="158" y="242"/>
                </a:cubicBezTo>
                <a:cubicBezTo>
                  <a:pt x="127" y="290"/>
                  <a:pt x="109" y="346"/>
                  <a:pt x="109" y="404"/>
                </a:cubicBezTo>
                <a:cubicBezTo>
                  <a:pt x="109" y="565"/>
                  <a:pt x="240" y="697"/>
                  <a:pt x="403" y="697"/>
                </a:cubicBezTo>
                <a:cubicBezTo>
                  <a:pt x="565" y="697"/>
                  <a:pt x="697" y="566"/>
                  <a:pt x="697" y="404"/>
                </a:cubicBezTo>
                <a:cubicBezTo>
                  <a:pt x="697" y="241"/>
                  <a:pt x="565" y="110"/>
                  <a:pt x="403" y="110"/>
                </a:cubicBezTo>
                <a:cubicBezTo>
                  <a:pt x="329" y="110"/>
                  <a:pt x="259" y="137"/>
                  <a:pt x="205" y="187"/>
                </a:cubicBezTo>
                <a:lnTo>
                  <a:pt x="163" y="145"/>
                </a:lnTo>
                <a:lnTo>
                  <a:pt x="163" y="117"/>
                </a:lnTo>
                <a:cubicBezTo>
                  <a:pt x="230" y="61"/>
                  <a:pt x="315" y="30"/>
                  <a:pt x="403" y="30"/>
                </a:cubicBezTo>
                <a:cubicBezTo>
                  <a:pt x="609" y="30"/>
                  <a:pt x="777" y="197"/>
                  <a:pt x="777" y="404"/>
                </a:cubicBezTo>
                <a:cubicBezTo>
                  <a:pt x="777" y="610"/>
                  <a:pt x="609" y="777"/>
                  <a:pt x="403" y="777"/>
                </a:cubicBezTo>
                <a:cubicBezTo>
                  <a:pt x="197" y="777"/>
                  <a:pt x="29" y="610"/>
                  <a:pt x="29" y="404"/>
                </a:cubicBezTo>
                <a:cubicBezTo>
                  <a:pt x="29" y="334"/>
                  <a:pt x="49" y="265"/>
                  <a:pt x="87" y="205"/>
                </a:cubicBezTo>
                <a:cubicBezTo>
                  <a:pt x="90" y="199"/>
                  <a:pt x="89" y="190"/>
                  <a:pt x="83" y="186"/>
                </a:cubicBezTo>
                <a:cubicBezTo>
                  <a:pt x="77" y="182"/>
                  <a:pt x="68" y="184"/>
                  <a:pt x="64" y="190"/>
                </a:cubicBezTo>
                <a:cubicBezTo>
                  <a:pt x="24" y="254"/>
                  <a:pt x="3" y="327"/>
                  <a:pt x="3" y="402"/>
                </a:cubicBezTo>
                <a:cubicBezTo>
                  <a:pt x="3" y="622"/>
                  <a:pt x="183" y="802"/>
                  <a:pt x="403" y="802"/>
                </a:cubicBezTo>
                <a:cubicBezTo>
                  <a:pt x="623" y="802"/>
                  <a:pt x="803" y="622"/>
                  <a:pt x="803" y="402"/>
                </a:cubicBezTo>
                <a:cubicBezTo>
                  <a:pt x="803" y="181"/>
                  <a:pt x="623" y="1"/>
                  <a:pt x="403" y="1"/>
                </a:cubicBezTo>
                <a:close/>
                <a:moveTo>
                  <a:pt x="137" y="135"/>
                </a:moveTo>
                <a:lnTo>
                  <a:pt x="102" y="135"/>
                </a:lnTo>
                <a:lnTo>
                  <a:pt x="48" y="81"/>
                </a:lnTo>
                <a:lnTo>
                  <a:pt x="69" y="81"/>
                </a:lnTo>
                <a:cubicBezTo>
                  <a:pt x="77" y="81"/>
                  <a:pt x="83" y="75"/>
                  <a:pt x="83" y="67"/>
                </a:cubicBezTo>
                <a:lnTo>
                  <a:pt x="83" y="46"/>
                </a:lnTo>
                <a:lnTo>
                  <a:pt x="137" y="100"/>
                </a:lnTo>
                <a:lnTo>
                  <a:pt x="137" y="135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 w="0">
            <a:noFill/>
            <a:prstDash val="solid"/>
            <a:round/>
          </a:ln>
        </p:spPr>
        <p:txBody>
          <a:bodyPr vert="horz" wrap="square" lIns="91424" tIns="45712" rIns="91424" bIns="45712" numCol="1" anchor="t" anchorCtr="0" compatLnSpc="1"/>
          <a:lstStyle/>
          <a:p>
            <a:pPr defTabSz="913765"/>
            <a:endParaRPr lang="en-US" sz="1200">
              <a:solidFill>
                <a:prstClr val="black"/>
              </a:solidFill>
              <a:latin typeface="Questrial"/>
            </a:endParaRP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9C3DE24A-E622-2427-3116-19A8C427F50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60751" y="2523547"/>
            <a:ext cx="360339" cy="359945"/>
          </a:xfrm>
          <a:custGeom>
            <a:avLst/>
            <a:gdLst>
              <a:gd name="T0" fmla="*/ 480 w 800"/>
              <a:gd name="T1" fmla="*/ 240 h 800"/>
              <a:gd name="T2" fmla="*/ 426 w 800"/>
              <a:gd name="T3" fmla="*/ 494 h 800"/>
              <a:gd name="T4" fmla="*/ 399 w 800"/>
              <a:gd name="T5" fmla="*/ 494 h 800"/>
              <a:gd name="T6" fmla="*/ 412 w 800"/>
              <a:gd name="T7" fmla="*/ 214 h 800"/>
              <a:gd name="T8" fmla="*/ 506 w 800"/>
              <a:gd name="T9" fmla="*/ 228 h 800"/>
              <a:gd name="T10" fmla="*/ 492 w 800"/>
              <a:gd name="T11" fmla="*/ 428 h 800"/>
              <a:gd name="T12" fmla="*/ 604 w 800"/>
              <a:gd name="T13" fmla="*/ 529 h 800"/>
              <a:gd name="T14" fmla="*/ 632 w 800"/>
              <a:gd name="T15" fmla="*/ 576 h 800"/>
              <a:gd name="T16" fmla="*/ 652 w 800"/>
              <a:gd name="T17" fmla="*/ 576 h 800"/>
              <a:gd name="T18" fmla="*/ 624 w 800"/>
              <a:gd name="T19" fmla="*/ 529 h 800"/>
              <a:gd name="T20" fmla="*/ 102 w 800"/>
              <a:gd name="T21" fmla="*/ 190 h 800"/>
              <a:gd name="T22" fmla="*/ 54 w 800"/>
              <a:gd name="T23" fmla="*/ 319 h 800"/>
              <a:gd name="T24" fmla="*/ 586 w 800"/>
              <a:gd name="T25" fmla="*/ 319 h 800"/>
              <a:gd name="T26" fmla="*/ 400 w 800"/>
              <a:gd name="T27" fmla="*/ 79 h 800"/>
              <a:gd name="T28" fmla="*/ 559 w 800"/>
              <a:gd name="T29" fmla="*/ 319 h 800"/>
              <a:gd name="T30" fmla="*/ 79 w 800"/>
              <a:gd name="T31" fmla="*/ 319 h 800"/>
              <a:gd name="T32" fmla="*/ 102 w 800"/>
              <a:gd name="T33" fmla="*/ 190 h 800"/>
              <a:gd name="T34" fmla="*/ 294 w 800"/>
              <a:gd name="T35" fmla="*/ 520 h 800"/>
              <a:gd name="T36" fmla="*/ 347 w 800"/>
              <a:gd name="T37" fmla="*/ 26 h 800"/>
              <a:gd name="T38" fmla="*/ 361 w 800"/>
              <a:gd name="T39" fmla="*/ 534 h 800"/>
              <a:gd name="T40" fmla="*/ 375 w 800"/>
              <a:gd name="T41" fmla="*/ 14 h 800"/>
              <a:gd name="T42" fmla="*/ 281 w 800"/>
              <a:gd name="T43" fmla="*/ 0 h 800"/>
              <a:gd name="T44" fmla="*/ 267 w 800"/>
              <a:gd name="T45" fmla="*/ 520 h 800"/>
              <a:gd name="T46" fmla="*/ 226 w 800"/>
              <a:gd name="T47" fmla="*/ 106 h 800"/>
              <a:gd name="T48" fmla="*/ 132 w 800"/>
              <a:gd name="T49" fmla="*/ 120 h 800"/>
              <a:gd name="T50" fmla="*/ 146 w 800"/>
              <a:gd name="T51" fmla="*/ 428 h 800"/>
              <a:gd name="T52" fmla="*/ 160 w 800"/>
              <a:gd name="T53" fmla="*/ 134 h 800"/>
              <a:gd name="T54" fmla="*/ 214 w 800"/>
              <a:gd name="T55" fmla="*/ 494 h 800"/>
              <a:gd name="T56" fmla="*/ 241 w 800"/>
              <a:gd name="T57" fmla="*/ 494 h 800"/>
              <a:gd name="T58" fmla="*/ 226 w 800"/>
              <a:gd name="T59" fmla="*/ 106 h 800"/>
              <a:gd name="T60" fmla="*/ 686 w 800"/>
              <a:gd name="T61" fmla="*/ 592 h 800"/>
              <a:gd name="T62" fmla="*/ 676 w 800"/>
              <a:gd name="T63" fmla="*/ 589 h 800"/>
              <a:gd name="T64" fmla="*/ 629 w 800"/>
              <a:gd name="T65" fmla="*/ 630 h 800"/>
              <a:gd name="T66" fmla="*/ 648 w 800"/>
              <a:gd name="T67" fmla="*/ 649 h 800"/>
              <a:gd name="T68" fmla="*/ 760 w 800"/>
              <a:gd name="T69" fmla="*/ 704 h 800"/>
              <a:gd name="T70" fmla="*/ 760 w 800"/>
              <a:gd name="T71" fmla="*/ 761 h 800"/>
              <a:gd name="T72" fmla="*/ 546 w 800"/>
              <a:gd name="T73" fmla="*/ 604 h 800"/>
              <a:gd name="T74" fmla="*/ 528 w 800"/>
              <a:gd name="T75" fmla="*/ 622 h 800"/>
              <a:gd name="T76" fmla="*/ 732 w 800"/>
              <a:gd name="T77" fmla="*/ 800 h 800"/>
              <a:gd name="T78" fmla="*/ 800 w 800"/>
              <a:gd name="T79" fmla="*/ 732 h 800"/>
              <a:gd name="T80" fmla="*/ 640 w 800"/>
              <a:gd name="T81" fmla="*/ 320 h 800"/>
              <a:gd name="T82" fmla="*/ 401 w 800"/>
              <a:gd name="T83" fmla="*/ 24 h 800"/>
              <a:gd name="T84" fmla="*/ 614 w 800"/>
              <a:gd name="T85" fmla="*/ 320 h 800"/>
              <a:gd name="T86" fmla="*/ 26 w 800"/>
              <a:gd name="T87" fmla="*/ 320 h 800"/>
              <a:gd name="T88" fmla="*/ 239 w 800"/>
              <a:gd name="T89" fmla="*/ 24 h 800"/>
              <a:gd name="T90" fmla="*/ 0 w 800"/>
              <a:gd name="T91" fmla="*/ 320 h 800"/>
              <a:gd name="T92" fmla="*/ 640 w 800"/>
              <a:gd name="T93" fmla="*/ 320 h 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800" h="800">
                <a:moveTo>
                  <a:pt x="480" y="414"/>
                </a:moveTo>
                <a:lnTo>
                  <a:pt x="480" y="240"/>
                </a:lnTo>
                <a:lnTo>
                  <a:pt x="426" y="240"/>
                </a:lnTo>
                <a:lnTo>
                  <a:pt x="426" y="494"/>
                </a:lnTo>
                <a:cubicBezTo>
                  <a:pt x="426" y="501"/>
                  <a:pt x="420" y="508"/>
                  <a:pt x="412" y="508"/>
                </a:cubicBezTo>
                <a:cubicBezTo>
                  <a:pt x="405" y="508"/>
                  <a:pt x="399" y="501"/>
                  <a:pt x="399" y="494"/>
                </a:cubicBezTo>
                <a:lnTo>
                  <a:pt x="399" y="228"/>
                </a:lnTo>
                <a:cubicBezTo>
                  <a:pt x="399" y="220"/>
                  <a:pt x="405" y="214"/>
                  <a:pt x="412" y="214"/>
                </a:cubicBezTo>
                <a:lnTo>
                  <a:pt x="492" y="214"/>
                </a:lnTo>
                <a:cubicBezTo>
                  <a:pt x="500" y="214"/>
                  <a:pt x="506" y="220"/>
                  <a:pt x="506" y="228"/>
                </a:cubicBezTo>
                <a:lnTo>
                  <a:pt x="506" y="414"/>
                </a:lnTo>
                <a:cubicBezTo>
                  <a:pt x="506" y="421"/>
                  <a:pt x="500" y="428"/>
                  <a:pt x="492" y="428"/>
                </a:cubicBezTo>
                <a:cubicBezTo>
                  <a:pt x="486" y="426"/>
                  <a:pt x="480" y="421"/>
                  <a:pt x="480" y="414"/>
                </a:cubicBezTo>
                <a:close/>
                <a:moveTo>
                  <a:pt x="604" y="529"/>
                </a:moveTo>
                <a:cubicBezTo>
                  <a:pt x="599" y="534"/>
                  <a:pt x="599" y="543"/>
                  <a:pt x="604" y="547"/>
                </a:cubicBezTo>
                <a:lnTo>
                  <a:pt x="632" y="576"/>
                </a:lnTo>
                <a:cubicBezTo>
                  <a:pt x="635" y="579"/>
                  <a:pt x="639" y="580"/>
                  <a:pt x="642" y="580"/>
                </a:cubicBezTo>
                <a:cubicBezTo>
                  <a:pt x="646" y="580"/>
                  <a:pt x="649" y="579"/>
                  <a:pt x="652" y="576"/>
                </a:cubicBezTo>
                <a:cubicBezTo>
                  <a:pt x="657" y="571"/>
                  <a:pt x="657" y="562"/>
                  <a:pt x="652" y="558"/>
                </a:cubicBezTo>
                <a:lnTo>
                  <a:pt x="624" y="529"/>
                </a:lnTo>
                <a:cubicBezTo>
                  <a:pt x="617" y="522"/>
                  <a:pt x="609" y="522"/>
                  <a:pt x="604" y="529"/>
                </a:cubicBezTo>
                <a:close/>
                <a:moveTo>
                  <a:pt x="102" y="190"/>
                </a:moveTo>
                <a:cubicBezTo>
                  <a:pt x="96" y="186"/>
                  <a:pt x="87" y="189"/>
                  <a:pt x="85" y="195"/>
                </a:cubicBezTo>
                <a:cubicBezTo>
                  <a:pt x="65" y="232"/>
                  <a:pt x="54" y="276"/>
                  <a:pt x="54" y="319"/>
                </a:cubicBezTo>
                <a:cubicBezTo>
                  <a:pt x="54" y="466"/>
                  <a:pt x="174" y="585"/>
                  <a:pt x="320" y="585"/>
                </a:cubicBezTo>
                <a:cubicBezTo>
                  <a:pt x="467" y="585"/>
                  <a:pt x="586" y="465"/>
                  <a:pt x="586" y="319"/>
                </a:cubicBezTo>
                <a:cubicBezTo>
                  <a:pt x="586" y="209"/>
                  <a:pt x="520" y="111"/>
                  <a:pt x="417" y="71"/>
                </a:cubicBezTo>
                <a:cubicBezTo>
                  <a:pt x="411" y="69"/>
                  <a:pt x="402" y="72"/>
                  <a:pt x="400" y="79"/>
                </a:cubicBezTo>
                <a:cubicBezTo>
                  <a:pt x="397" y="85"/>
                  <a:pt x="401" y="94"/>
                  <a:pt x="407" y="96"/>
                </a:cubicBezTo>
                <a:cubicBezTo>
                  <a:pt x="500" y="132"/>
                  <a:pt x="559" y="220"/>
                  <a:pt x="559" y="319"/>
                </a:cubicBezTo>
                <a:cubicBezTo>
                  <a:pt x="559" y="451"/>
                  <a:pt x="451" y="559"/>
                  <a:pt x="319" y="559"/>
                </a:cubicBezTo>
                <a:cubicBezTo>
                  <a:pt x="186" y="559"/>
                  <a:pt x="79" y="451"/>
                  <a:pt x="79" y="319"/>
                </a:cubicBezTo>
                <a:cubicBezTo>
                  <a:pt x="79" y="280"/>
                  <a:pt x="89" y="241"/>
                  <a:pt x="106" y="207"/>
                </a:cubicBezTo>
                <a:cubicBezTo>
                  <a:pt x="111" y="201"/>
                  <a:pt x="109" y="194"/>
                  <a:pt x="102" y="190"/>
                </a:cubicBezTo>
                <a:close/>
                <a:moveTo>
                  <a:pt x="280" y="534"/>
                </a:moveTo>
                <a:cubicBezTo>
                  <a:pt x="287" y="534"/>
                  <a:pt x="294" y="527"/>
                  <a:pt x="294" y="520"/>
                </a:cubicBezTo>
                <a:lnTo>
                  <a:pt x="294" y="26"/>
                </a:lnTo>
                <a:lnTo>
                  <a:pt x="347" y="26"/>
                </a:lnTo>
                <a:lnTo>
                  <a:pt x="347" y="520"/>
                </a:lnTo>
                <a:cubicBezTo>
                  <a:pt x="347" y="527"/>
                  <a:pt x="354" y="534"/>
                  <a:pt x="361" y="534"/>
                </a:cubicBezTo>
                <a:cubicBezTo>
                  <a:pt x="369" y="534"/>
                  <a:pt x="375" y="527"/>
                  <a:pt x="375" y="520"/>
                </a:cubicBezTo>
                <a:lnTo>
                  <a:pt x="375" y="14"/>
                </a:lnTo>
                <a:cubicBezTo>
                  <a:pt x="375" y="6"/>
                  <a:pt x="369" y="0"/>
                  <a:pt x="361" y="0"/>
                </a:cubicBezTo>
                <a:lnTo>
                  <a:pt x="281" y="0"/>
                </a:lnTo>
                <a:cubicBezTo>
                  <a:pt x="274" y="0"/>
                  <a:pt x="267" y="6"/>
                  <a:pt x="267" y="14"/>
                </a:cubicBezTo>
                <a:lnTo>
                  <a:pt x="267" y="520"/>
                </a:lnTo>
                <a:cubicBezTo>
                  <a:pt x="266" y="527"/>
                  <a:pt x="272" y="534"/>
                  <a:pt x="280" y="534"/>
                </a:cubicBezTo>
                <a:close/>
                <a:moveTo>
                  <a:pt x="226" y="106"/>
                </a:moveTo>
                <a:lnTo>
                  <a:pt x="146" y="106"/>
                </a:lnTo>
                <a:cubicBezTo>
                  <a:pt x="139" y="106"/>
                  <a:pt x="132" y="112"/>
                  <a:pt x="132" y="120"/>
                </a:cubicBezTo>
                <a:lnTo>
                  <a:pt x="132" y="414"/>
                </a:lnTo>
                <a:cubicBezTo>
                  <a:pt x="132" y="421"/>
                  <a:pt x="139" y="428"/>
                  <a:pt x="146" y="428"/>
                </a:cubicBezTo>
                <a:cubicBezTo>
                  <a:pt x="154" y="428"/>
                  <a:pt x="160" y="421"/>
                  <a:pt x="160" y="414"/>
                </a:cubicBezTo>
                <a:lnTo>
                  <a:pt x="160" y="134"/>
                </a:lnTo>
                <a:lnTo>
                  <a:pt x="214" y="134"/>
                </a:lnTo>
                <a:lnTo>
                  <a:pt x="214" y="494"/>
                </a:lnTo>
                <a:cubicBezTo>
                  <a:pt x="214" y="501"/>
                  <a:pt x="220" y="508"/>
                  <a:pt x="227" y="508"/>
                </a:cubicBezTo>
                <a:cubicBezTo>
                  <a:pt x="235" y="508"/>
                  <a:pt x="241" y="501"/>
                  <a:pt x="241" y="494"/>
                </a:cubicBezTo>
                <a:lnTo>
                  <a:pt x="241" y="120"/>
                </a:lnTo>
                <a:cubicBezTo>
                  <a:pt x="240" y="112"/>
                  <a:pt x="234" y="106"/>
                  <a:pt x="226" y="106"/>
                </a:cubicBezTo>
                <a:close/>
                <a:moveTo>
                  <a:pt x="780" y="686"/>
                </a:moveTo>
                <a:lnTo>
                  <a:pt x="686" y="592"/>
                </a:lnTo>
                <a:cubicBezTo>
                  <a:pt x="684" y="590"/>
                  <a:pt x="680" y="589"/>
                  <a:pt x="676" y="589"/>
                </a:cubicBezTo>
                <a:lnTo>
                  <a:pt x="676" y="589"/>
                </a:lnTo>
                <a:cubicBezTo>
                  <a:pt x="673" y="589"/>
                  <a:pt x="669" y="590"/>
                  <a:pt x="666" y="592"/>
                </a:cubicBezTo>
                <a:lnTo>
                  <a:pt x="629" y="630"/>
                </a:lnTo>
                <a:cubicBezTo>
                  <a:pt x="624" y="635"/>
                  <a:pt x="624" y="644"/>
                  <a:pt x="629" y="649"/>
                </a:cubicBezTo>
                <a:cubicBezTo>
                  <a:pt x="634" y="654"/>
                  <a:pt x="643" y="654"/>
                  <a:pt x="648" y="649"/>
                </a:cubicBezTo>
                <a:lnTo>
                  <a:pt x="676" y="620"/>
                </a:lnTo>
                <a:lnTo>
                  <a:pt x="760" y="704"/>
                </a:lnTo>
                <a:cubicBezTo>
                  <a:pt x="768" y="711"/>
                  <a:pt x="771" y="721"/>
                  <a:pt x="771" y="732"/>
                </a:cubicBezTo>
                <a:cubicBezTo>
                  <a:pt x="771" y="744"/>
                  <a:pt x="768" y="754"/>
                  <a:pt x="760" y="761"/>
                </a:cubicBezTo>
                <a:cubicBezTo>
                  <a:pt x="745" y="776"/>
                  <a:pt x="719" y="776"/>
                  <a:pt x="704" y="761"/>
                </a:cubicBezTo>
                <a:lnTo>
                  <a:pt x="546" y="604"/>
                </a:lnTo>
                <a:cubicBezTo>
                  <a:pt x="541" y="599"/>
                  <a:pt x="532" y="599"/>
                  <a:pt x="528" y="604"/>
                </a:cubicBezTo>
                <a:cubicBezTo>
                  <a:pt x="523" y="609"/>
                  <a:pt x="523" y="617"/>
                  <a:pt x="528" y="622"/>
                </a:cubicBezTo>
                <a:lnTo>
                  <a:pt x="685" y="780"/>
                </a:lnTo>
                <a:cubicBezTo>
                  <a:pt x="698" y="792"/>
                  <a:pt x="715" y="800"/>
                  <a:pt x="732" y="800"/>
                </a:cubicBezTo>
                <a:cubicBezTo>
                  <a:pt x="750" y="800"/>
                  <a:pt x="766" y="794"/>
                  <a:pt x="780" y="780"/>
                </a:cubicBezTo>
                <a:cubicBezTo>
                  <a:pt x="792" y="767"/>
                  <a:pt x="800" y="751"/>
                  <a:pt x="800" y="732"/>
                </a:cubicBezTo>
                <a:cubicBezTo>
                  <a:pt x="800" y="715"/>
                  <a:pt x="792" y="699"/>
                  <a:pt x="780" y="686"/>
                </a:cubicBezTo>
                <a:close/>
                <a:moveTo>
                  <a:pt x="640" y="320"/>
                </a:moveTo>
                <a:cubicBezTo>
                  <a:pt x="640" y="180"/>
                  <a:pt x="550" y="58"/>
                  <a:pt x="418" y="15"/>
                </a:cubicBezTo>
                <a:cubicBezTo>
                  <a:pt x="410" y="13"/>
                  <a:pt x="403" y="16"/>
                  <a:pt x="401" y="24"/>
                </a:cubicBezTo>
                <a:cubicBezTo>
                  <a:pt x="399" y="31"/>
                  <a:pt x="403" y="39"/>
                  <a:pt x="410" y="40"/>
                </a:cubicBezTo>
                <a:cubicBezTo>
                  <a:pt x="533" y="79"/>
                  <a:pt x="614" y="191"/>
                  <a:pt x="614" y="320"/>
                </a:cubicBezTo>
                <a:cubicBezTo>
                  <a:pt x="614" y="481"/>
                  <a:pt x="483" y="614"/>
                  <a:pt x="320" y="614"/>
                </a:cubicBezTo>
                <a:cubicBezTo>
                  <a:pt x="159" y="614"/>
                  <a:pt x="26" y="483"/>
                  <a:pt x="26" y="320"/>
                </a:cubicBezTo>
                <a:cubicBezTo>
                  <a:pt x="26" y="191"/>
                  <a:pt x="109" y="80"/>
                  <a:pt x="230" y="40"/>
                </a:cubicBezTo>
                <a:cubicBezTo>
                  <a:pt x="238" y="38"/>
                  <a:pt x="241" y="30"/>
                  <a:pt x="239" y="24"/>
                </a:cubicBezTo>
                <a:cubicBezTo>
                  <a:pt x="236" y="16"/>
                  <a:pt x="229" y="13"/>
                  <a:pt x="223" y="15"/>
                </a:cubicBezTo>
                <a:cubicBezTo>
                  <a:pt x="89" y="58"/>
                  <a:pt x="0" y="180"/>
                  <a:pt x="0" y="320"/>
                </a:cubicBezTo>
                <a:cubicBezTo>
                  <a:pt x="0" y="496"/>
                  <a:pt x="144" y="640"/>
                  <a:pt x="320" y="640"/>
                </a:cubicBezTo>
                <a:cubicBezTo>
                  <a:pt x="496" y="640"/>
                  <a:pt x="640" y="496"/>
                  <a:pt x="640" y="320"/>
                </a:cubicBezTo>
                <a:close/>
              </a:path>
            </a:pathLst>
          </a:custGeom>
          <a:solidFill>
            <a:schemeClr val="tx2">
              <a:lumMod val="50000"/>
            </a:schemeClr>
          </a:solidFill>
          <a:ln w="0">
            <a:noFill/>
            <a:prstDash val="solid"/>
            <a:round/>
          </a:ln>
        </p:spPr>
        <p:txBody>
          <a:bodyPr vert="horz" wrap="square" lIns="91424" tIns="45712" rIns="91424" bIns="45712" numCol="1" anchor="t" anchorCtr="0" compatLnSpc="1"/>
          <a:lstStyle/>
          <a:p>
            <a:pPr defTabSz="913765"/>
            <a:endParaRPr lang="en-US" sz="1200">
              <a:solidFill>
                <a:prstClr val="black"/>
              </a:solidFill>
              <a:latin typeface="Questrial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9754BDF8-2C8B-B8AE-7F8D-C494C090F1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17409" y="1500112"/>
            <a:ext cx="7488382" cy="3945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4742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3000"/>
    </mc:Choice>
    <mc:Fallback xmlns="">
      <p:transition advTm="3000"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EDED4E-22CB-7735-4E08-C61826B14A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C1303A90-72BA-B887-47C8-F64B8B9BC60E}"/>
              </a:ext>
            </a:extLst>
          </p:cNvPr>
          <p:cNvSpPr txBox="1"/>
          <p:nvPr/>
        </p:nvSpPr>
        <p:spPr>
          <a:xfrm>
            <a:off x="1714365" y="4160027"/>
            <a:ext cx="3399367" cy="848953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生成视频时长较短，短视频限制了连续叙事能力；</a:t>
            </a:r>
            <a:b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人物动作表现较为僵硬，影响自然流畅性。</a:t>
            </a:r>
            <a:endParaRPr lang="en-US" sz="14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986E3831-A655-0F10-2D27-4F7B507FFD2E}"/>
              </a:ext>
            </a:extLst>
          </p:cNvPr>
          <p:cNvSpPr txBox="1"/>
          <p:nvPr/>
        </p:nvSpPr>
        <p:spPr>
          <a:xfrm>
            <a:off x="2042349" y="1134622"/>
            <a:ext cx="4053651" cy="330149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3600" b="1" dirty="0" err="1">
                <a:solidFill>
                  <a:srgbClr val="404040"/>
                </a:solidFill>
                <a:latin typeface="Inter"/>
              </a:rPr>
              <a:t>Hunyuan</a:t>
            </a:r>
            <a:r>
              <a:rPr lang="en-US" altLang="zh-CN" sz="3600" b="1" dirty="0">
                <a:solidFill>
                  <a:srgbClr val="404040"/>
                </a:solidFill>
                <a:latin typeface="Inter"/>
              </a:rPr>
              <a:t> Video</a:t>
            </a:r>
            <a:endParaRPr lang="en-US" sz="3600" b="1" dirty="0">
              <a:solidFill>
                <a:srgbClr val="404040"/>
              </a:solidFill>
              <a:latin typeface="Inter"/>
            </a:endParaRPr>
          </a:p>
        </p:txBody>
      </p:sp>
      <p:sp>
        <p:nvSpPr>
          <p:cNvPr id="5" name="Text Placeholder 13">
            <a:extLst>
              <a:ext uri="{FF2B5EF4-FFF2-40B4-BE49-F238E27FC236}">
                <a16:creationId xmlns:a16="http://schemas.microsoft.com/office/drawing/2014/main" id="{D0BB0E50-D580-359D-2EFC-AC385C0108A8}"/>
              </a:ext>
            </a:extLst>
          </p:cNvPr>
          <p:cNvSpPr txBox="1"/>
          <p:nvPr/>
        </p:nvSpPr>
        <p:spPr>
          <a:xfrm>
            <a:off x="1714365" y="3859423"/>
            <a:ext cx="3399367" cy="507923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500" dirty="0"/>
              <a:t>缺点</a:t>
            </a:r>
            <a:endParaRPr lang="en-US" sz="1500" dirty="0"/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D37213D7-9F75-E7A3-81F2-46721745F198}"/>
              </a:ext>
            </a:extLst>
          </p:cNvPr>
          <p:cNvSpPr txBox="1"/>
          <p:nvPr/>
        </p:nvSpPr>
        <p:spPr>
          <a:xfrm>
            <a:off x="1717533" y="2623856"/>
            <a:ext cx="3399367" cy="848953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作为开源视频模型标杆，支持多达</a:t>
            </a: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13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种运镜参数自定义，灵活适应不同视频风格；</a:t>
            </a:r>
            <a:b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对创意视频制作有一定启发，适用于实验性应用。</a:t>
            </a:r>
            <a:endParaRPr lang="en-US" sz="14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98D71501-A64F-9F7B-9588-327B3B1FF73F}"/>
              </a:ext>
            </a:extLst>
          </p:cNvPr>
          <p:cNvSpPr txBox="1"/>
          <p:nvPr/>
        </p:nvSpPr>
        <p:spPr>
          <a:xfrm>
            <a:off x="1717533" y="2375568"/>
            <a:ext cx="3399367" cy="507923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500" dirty="0"/>
              <a:t>优点</a:t>
            </a:r>
            <a:endParaRPr lang="en-US" sz="1500" dirty="0"/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AD24A48C-6EC7-F11B-1B94-7011405EBE4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60081" y="4007403"/>
            <a:ext cx="360671" cy="359945"/>
          </a:xfrm>
          <a:custGeom>
            <a:avLst/>
            <a:gdLst>
              <a:gd name="T0" fmla="*/ 159 w 803"/>
              <a:gd name="T1" fmla="*/ 85 h 802"/>
              <a:gd name="T2" fmla="*/ 64 w 803"/>
              <a:gd name="T3" fmla="*/ 2 h 802"/>
              <a:gd name="T4" fmla="*/ 55 w 803"/>
              <a:gd name="T5" fmla="*/ 55 h 802"/>
              <a:gd name="T6" fmla="*/ 3 w 803"/>
              <a:gd name="T7" fmla="*/ 63 h 802"/>
              <a:gd name="T8" fmla="*/ 85 w 803"/>
              <a:gd name="T9" fmla="*/ 158 h 802"/>
              <a:gd name="T10" fmla="*/ 143 w 803"/>
              <a:gd name="T11" fmla="*/ 162 h 802"/>
              <a:gd name="T12" fmla="*/ 403 w 803"/>
              <a:gd name="T13" fmla="*/ 416 h 802"/>
              <a:gd name="T14" fmla="*/ 413 w 803"/>
              <a:gd name="T15" fmla="*/ 393 h 802"/>
              <a:gd name="T16" fmla="*/ 403 w 803"/>
              <a:gd name="T17" fmla="*/ 348 h 802"/>
              <a:gd name="T18" fmla="*/ 403 w 803"/>
              <a:gd name="T19" fmla="*/ 456 h 802"/>
              <a:gd name="T20" fmla="*/ 335 w 803"/>
              <a:gd name="T21" fmla="*/ 388 h 802"/>
              <a:gd name="T22" fmla="*/ 402 w 803"/>
              <a:gd name="T23" fmla="*/ 482 h 802"/>
              <a:gd name="T24" fmla="*/ 402 w 803"/>
              <a:gd name="T25" fmla="*/ 322 h 802"/>
              <a:gd name="T26" fmla="*/ 299 w 803"/>
              <a:gd name="T27" fmla="*/ 280 h 802"/>
              <a:gd name="T28" fmla="*/ 563 w 803"/>
              <a:gd name="T29" fmla="*/ 402 h 802"/>
              <a:gd name="T30" fmla="*/ 243 w 803"/>
              <a:gd name="T31" fmla="*/ 402 h 802"/>
              <a:gd name="T32" fmla="*/ 253 w 803"/>
              <a:gd name="T33" fmla="*/ 315 h 802"/>
              <a:gd name="T34" fmla="*/ 217 w 803"/>
              <a:gd name="T35" fmla="*/ 402 h 802"/>
              <a:gd name="T36" fmla="*/ 589 w 803"/>
              <a:gd name="T37" fmla="*/ 402 h 802"/>
              <a:gd name="T38" fmla="*/ 280 w 803"/>
              <a:gd name="T39" fmla="*/ 262 h 802"/>
              <a:gd name="T40" fmla="*/ 403 w 803"/>
              <a:gd name="T41" fmla="*/ 137 h 802"/>
              <a:gd name="T42" fmla="*/ 403 w 803"/>
              <a:gd name="T43" fmla="*/ 670 h 802"/>
              <a:gd name="T44" fmla="*/ 180 w 803"/>
              <a:gd name="T45" fmla="*/ 257 h 802"/>
              <a:gd name="T46" fmla="*/ 158 w 803"/>
              <a:gd name="T47" fmla="*/ 242 h 802"/>
              <a:gd name="T48" fmla="*/ 403 w 803"/>
              <a:gd name="T49" fmla="*/ 697 h 802"/>
              <a:gd name="T50" fmla="*/ 403 w 803"/>
              <a:gd name="T51" fmla="*/ 110 h 802"/>
              <a:gd name="T52" fmla="*/ 163 w 803"/>
              <a:gd name="T53" fmla="*/ 145 h 802"/>
              <a:gd name="T54" fmla="*/ 403 w 803"/>
              <a:gd name="T55" fmla="*/ 30 h 802"/>
              <a:gd name="T56" fmla="*/ 403 w 803"/>
              <a:gd name="T57" fmla="*/ 777 h 802"/>
              <a:gd name="T58" fmla="*/ 87 w 803"/>
              <a:gd name="T59" fmla="*/ 205 h 802"/>
              <a:gd name="T60" fmla="*/ 64 w 803"/>
              <a:gd name="T61" fmla="*/ 190 h 802"/>
              <a:gd name="T62" fmla="*/ 403 w 803"/>
              <a:gd name="T63" fmla="*/ 802 h 802"/>
              <a:gd name="T64" fmla="*/ 403 w 803"/>
              <a:gd name="T65" fmla="*/ 1 h 802"/>
              <a:gd name="T66" fmla="*/ 102 w 803"/>
              <a:gd name="T67" fmla="*/ 135 h 802"/>
              <a:gd name="T68" fmla="*/ 69 w 803"/>
              <a:gd name="T69" fmla="*/ 81 h 802"/>
              <a:gd name="T70" fmla="*/ 83 w 803"/>
              <a:gd name="T71" fmla="*/ 46 h 802"/>
              <a:gd name="T72" fmla="*/ 137 w 803"/>
              <a:gd name="T73" fmla="*/ 135 h 8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03" h="802">
                <a:moveTo>
                  <a:pt x="403" y="1"/>
                </a:moveTo>
                <a:cubicBezTo>
                  <a:pt x="314" y="1"/>
                  <a:pt x="228" y="31"/>
                  <a:pt x="159" y="85"/>
                </a:cubicBezTo>
                <a:lnTo>
                  <a:pt x="79" y="5"/>
                </a:lnTo>
                <a:cubicBezTo>
                  <a:pt x="75" y="1"/>
                  <a:pt x="69" y="0"/>
                  <a:pt x="64" y="2"/>
                </a:cubicBezTo>
                <a:cubicBezTo>
                  <a:pt x="59" y="5"/>
                  <a:pt x="55" y="10"/>
                  <a:pt x="55" y="15"/>
                </a:cubicBezTo>
                <a:lnTo>
                  <a:pt x="55" y="55"/>
                </a:lnTo>
                <a:lnTo>
                  <a:pt x="15" y="55"/>
                </a:lnTo>
                <a:cubicBezTo>
                  <a:pt x="10" y="55"/>
                  <a:pt x="5" y="59"/>
                  <a:pt x="3" y="63"/>
                </a:cubicBezTo>
                <a:cubicBezTo>
                  <a:pt x="0" y="68"/>
                  <a:pt x="2" y="75"/>
                  <a:pt x="5" y="78"/>
                </a:cubicBezTo>
                <a:lnTo>
                  <a:pt x="85" y="158"/>
                </a:lnTo>
                <a:cubicBezTo>
                  <a:pt x="88" y="161"/>
                  <a:pt x="92" y="162"/>
                  <a:pt x="95" y="162"/>
                </a:cubicBezTo>
                <a:lnTo>
                  <a:pt x="143" y="162"/>
                </a:lnTo>
                <a:lnTo>
                  <a:pt x="393" y="412"/>
                </a:lnTo>
                <a:cubicBezTo>
                  <a:pt x="395" y="415"/>
                  <a:pt x="399" y="416"/>
                  <a:pt x="403" y="416"/>
                </a:cubicBezTo>
                <a:cubicBezTo>
                  <a:pt x="407" y="416"/>
                  <a:pt x="409" y="415"/>
                  <a:pt x="413" y="412"/>
                </a:cubicBezTo>
                <a:cubicBezTo>
                  <a:pt x="418" y="407"/>
                  <a:pt x="418" y="398"/>
                  <a:pt x="413" y="393"/>
                </a:cubicBezTo>
                <a:lnTo>
                  <a:pt x="375" y="356"/>
                </a:lnTo>
                <a:cubicBezTo>
                  <a:pt x="383" y="351"/>
                  <a:pt x="392" y="348"/>
                  <a:pt x="403" y="348"/>
                </a:cubicBezTo>
                <a:cubicBezTo>
                  <a:pt x="433" y="348"/>
                  <a:pt x="457" y="372"/>
                  <a:pt x="457" y="402"/>
                </a:cubicBezTo>
                <a:cubicBezTo>
                  <a:pt x="457" y="432"/>
                  <a:pt x="433" y="456"/>
                  <a:pt x="403" y="456"/>
                </a:cubicBezTo>
                <a:cubicBezTo>
                  <a:pt x="373" y="456"/>
                  <a:pt x="349" y="432"/>
                  <a:pt x="349" y="402"/>
                </a:cubicBezTo>
                <a:cubicBezTo>
                  <a:pt x="349" y="395"/>
                  <a:pt x="343" y="388"/>
                  <a:pt x="335" y="388"/>
                </a:cubicBezTo>
                <a:cubicBezTo>
                  <a:pt x="328" y="388"/>
                  <a:pt x="322" y="395"/>
                  <a:pt x="322" y="402"/>
                </a:cubicBezTo>
                <a:cubicBezTo>
                  <a:pt x="322" y="446"/>
                  <a:pt x="358" y="482"/>
                  <a:pt x="402" y="482"/>
                </a:cubicBezTo>
                <a:cubicBezTo>
                  <a:pt x="445" y="482"/>
                  <a:pt x="482" y="446"/>
                  <a:pt x="482" y="402"/>
                </a:cubicBezTo>
                <a:cubicBezTo>
                  <a:pt x="482" y="358"/>
                  <a:pt x="445" y="322"/>
                  <a:pt x="402" y="322"/>
                </a:cubicBezTo>
                <a:cubicBezTo>
                  <a:pt x="384" y="322"/>
                  <a:pt x="368" y="327"/>
                  <a:pt x="355" y="336"/>
                </a:cubicBezTo>
                <a:lnTo>
                  <a:pt x="299" y="280"/>
                </a:lnTo>
                <a:cubicBezTo>
                  <a:pt x="328" y="255"/>
                  <a:pt x="364" y="242"/>
                  <a:pt x="403" y="242"/>
                </a:cubicBezTo>
                <a:cubicBezTo>
                  <a:pt x="492" y="242"/>
                  <a:pt x="563" y="313"/>
                  <a:pt x="563" y="402"/>
                </a:cubicBezTo>
                <a:cubicBezTo>
                  <a:pt x="563" y="491"/>
                  <a:pt x="492" y="562"/>
                  <a:pt x="403" y="562"/>
                </a:cubicBezTo>
                <a:cubicBezTo>
                  <a:pt x="314" y="562"/>
                  <a:pt x="243" y="491"/>
                  <a:pt x="243" y="402"/>
                </a:cubicBezTo>
                <a:cubicBezTo>
                  <a:pt x="243" y="379"/>
                  <a:pt x="248" y="355"/>
                  <a:pt x="259" y="332"/>
                </a:cubicBezTo>
                <a:cubicBezTo>
                  <a:pt x="263" y="326"/>
                  <a:pt x="259" y="317"/>
                  <a:pt x="253" y="315"/>
                </a:cubicBezTo>
                <a:cubicBezTo>
                  <a:pt x="247" y="311"/>
                  <a:pt x="238" y="315"/>
                  <a:pt x="235" y="321"/>
                </a:cubicBezTo>
                <a:cubicBezTo>
                  <a:pt x="223" y="347"/>
                  <a:pt x="217" y="375"/>
                  <a:pt x="217" y="402"/>
                </a:cubicBezTo>
                <a:cubicBezTo>
                  <a:pt x="217" y="505"/>
                  <a:pt x="300" y="588"/>
                  <a:pt x="403" y="588"/>
                </a:cubicBezTo>
                <a:cubicBezTo>
                  <a:pt x="505" y="588"/>
                  <a:pt x="589" y="505"/>
                  <a:pt x="589" y="402"/>
                </a:cubicBezTo>
                <a:cubicBezTo>
                  <a:pt x="589" y="300"/>
                  <a:pt x="505" y="216"/>
                  <a:pt x="403" y="216"/>
                </a:cubicBezTo>
                <a:cubicBezTo>
                  <a:pt x="358" y="216"/>
                  <a:pt x="314" y="232"/>
                  <a:pt x="280" y="262"/>
                </a:cubicBezTo>
                <a:lnTo>
                  <a:pt x="224" y="206"/>
                </a:lnTo>
                <a:cubicBezTo>
                  <a:pt x="273" y="161"/>
                  <a:pt x="337" y="137"/>
                  <a:pt x="403" y="137"/>
                </a:cubicBezTo>
                <a:cubicBezTo>
                  <a:pt x="550" y="137"/>
                  <a:pt x="669" y="257"/>
                  <a:pt x="669" y="404"/>
                </a:cubicBezTo>
                <a:cubicBezTo>
                  <a:pt x="669" y="550"/>
                  <a:pt x="549" y="670"/>
                  <a:pt x="403" y="670"/>
                </a:cubicBezTo>
                <a:cubicBezTo>
                  <a:pt x="255" y="670"/>
                  <a:pt x="137" y="550"/>
                  <a:pt x="137" y="404"/>
                </a:cubicBezTo>
                <a:cubicBezTo>
                  <a:pt x="137" y="351"/>
                  <a:pt x="152" y="301"/>
                  <a:pt x="180" y="257"/>
                </a:cubicBezTo>
                <a:cubicBezTo>
                  <a:pt x="184" y="251"/>
                  <a:pt x="183" y="242"/>
                  <a:pt x="177" y="239"/>
                </a:cubicBezTo>
                <a:cubicBezTo>
                  <a:pt x="170" y="235"/>
                  <a:pt x="162" y="236"/>
                  <a:pt x="158" y="242"/>
                </a:cubicBezTo>
                <a:cubicBezTo>
                  <a:pt x="127" y="290"/>
                  <a:pt x="109" y="346"/>
                  <a:pt x="109" y="404"/>
                </a:cubicBezTo>
                <a:cubicBezTo>
                  <a:pt x="109" y="565"/>
                  <a:pt x="240" y="697"/>
                  <a:pt x="403" y="697"/>
                </a:cubicBezTo>
                <a:cubicBezTo>
                  <a:pt x="565" y="697"/>
                  <a:pt x="697" y="566"/>
                  <a:pt x="697" y="404"/>
                </a:cubicBezTo>
                <a:cubicBezTo>
                  <a:pt x="697" y="241"/>
                  <a:pt x="565" y="110"/>
                  <a:pt x="403" y="110"/>
                </a:cubicBezTo>
                <a:cubicBezTo>
                  <a:pt x="329" y="110"/>
                  <a:pt x="259" y="137"/>
                  <a:pt x="205" y="187"/>
                </a:cubicBezTo>
                <a:lnTo>
                  <a:pt x="163" y="145"/>
                </a:lnTo>
                <a:lnTo>
                  <a:pt x="163" y="117"/>
                </a:lnTo>
                <a:cubicBezTo>
                  <a:pt x="230" y="61"/>
                  <a:pt x="315" y="30"/>
                  <a:pt x="403" y="30"/>
                </a:cubicBezTo>
                <a:cubicBezTo>
                  <a:pt x="609" y="30"/>
                  <a:pt x="777" y="197"/>
                  <a:pt x="777" y="404"/>
                </a:cubicBezTo>
                <a:cubicBezTo>
                  <a:pt x="777" y="610"/>
                  <a:pt x="609" y="777"/>
                  <a:pt x="403" y="777"/>
                </a:cubicBezTo>
                <a:cubicBezTo>
                  <a:pt x="197" y="777"/>
                  <a:pt x="29" y="610"/>
                  <a:pt x="29" y="404"/>
                </a:cubicBezTo>
                <a:cubicBezTo>
                  <a:pt x="29" y="334"/>
                  <a:pt x="49" y="265"/>
                  <a:pt x="87" y="205"/>
                </a:cubicBezTo>
                <a:cubicBezTo>
                  <a:pt x="90" y="199"/>
                  <a:pt x="89" y="190"/>
                  <a:pt x="83" y="186"/>
                </a:cubicBezTo>
                <a:cubicBezTo>
                  <a:pt x="77" y="182"/>
                  <a:pt x="68" y="184"/>
                  <a:pt x="64" y="190"/>
                </a:cubicBezTo>
                <a:cubicBezTo>
                  <a:pt x="24" y="254"/>
                  <a:pt x="3" y="327"/>
                  <a:pt x="3" y="402"/>
                </a:cubicBezTo>
                <a:cubicBezTo>
                  <a:pt x="3" y="622"/>
                  <a:pt x="183" y="802"/>
                  <a:pt x="403" y="802"/>
                </a:cubicBezTo>
                <a:cubicBezTo>
                  <a:pt x="623" y="802"/>
                  <a:pt x="803" y="622"/>
                  <a:pt x="803" y="402"/>
                </a:cubicBezTo>
                <a:cubicBezTo>
                  <a:pt x="803" y="181"/>
                  <a:pt x="623" y="1"/>
                  <a:pt x="403" y="1"/>
                </a:cubicBezTo>
                <a:close/>
                <a:moveTo>
                  <a:pt x="137" y="135"/>
                </a:moveTo>
                <a:lnTo>
                  <a:pt x="102" y="135"/>
                </a:lnTo>
                <a:lnTo>
                  <a:pt x="48" y="81"/>
                </a:lnTo>
                <a:lnTo>
                  <a:pt x="69" y="81"/>
                </a:lnTo>
                <a:cubicBezTo>
                  <a:pt x="77" y="81"/>
                  <a:pt x="83" y="75"/>
                  <a:pt x="83" y="67"/>
                </a:cubicBezTo>
                <a:lnTo>
                  <a:pt x="83" y="46"/>
                </a:lnTo>
                <a:lnTo>
                  <a:pt x="137" y="100"/>
                </a:lnTo>
                <a:lnTo>
                  <a:pt x="137" y="135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 w="0">
            <a:noFill/>
            <a:prstDash val="solid"/>
            <a:round/>
          </a:ln>
        </p:spPr>
        <p:txBody>
          <a:bodyPr vert="horz" wrap="square" lIns="91424" tIns="45712" rIns="91424" bIns="45712" numCol="1" anchor="t" anchorCtr="0" compatLnSpc="1"/>
          <a:lstStyle/>
          <a:p>
            <a:pPr defTabSz="913765"/>
            <a:endParaRPr lang="en-US" sz="1200">
              <a:solidFill>
                <a:prstClr val="black"/>
              </a:solidFill>
              <a:latin typeface="Questrial"/>
            </a:endParaRP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8FABF4EC-536F-EC0E-3357-7E7BC54B9FF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60751" y="2523547"/>
            <a:ext cx="360339" cy="359945"/>
          </a:xfrm>
          <a:custGeom>
            <a:avLst/>
            <a:gdLst>
              <a:gd name="T0" fmla="*/ 480 w 800"/>
              <a:gd name="T1" fmla="*/ 240 h 800"/>
              <a:gd name="T2" fmla="*/ 426 w 800"/>
              <a:gd name="T3" fmla="*/ 494 h 800"/>
              <a:gd name="T4" fmla="*/ 399 w 800"/>
              <a:gd name="T5" fmla="*/ 494 h 800"/>
              <a:gd name="T6" fmla="*/ 412 w 800"/>
              <a:gd name="T7" fmla="*/ 214 h 800"/>
              <a:gd name="T8" fmla="*/ 506 w 800"/>
              <a:gd name="T9" fmla="*/ 228 h 800"/>
              <a:gd name="T10" fmla="*/ 492 w 800"/>
              <a:gd name="T11" fmla="*/ 428 h 800"/>
              <a:gd name="T12" fmla="*/ 604 w 800"/>
              <a:gd name="T13" fmla="*/ 529 h 800"/>
              <a:gd name="T14" fmla="*/ 632 w 800"/>
              <a:gd name="T15" fmla="*/ 576 h 800"/>
              <a:gd name="T16" fmla="*/ 652 w 800"/>
              <a:gd name="T17" fmla="*/ 576 h 800"/>
              <a:gd name="T18" fmla="*/ 624 w 800"/>
              <a:gd name="T19" fmla="*/ 529 h 800"/>
              <a:gd name="T20" fmla="*/ 102 w 800"/>
              <a:gd name="T21" fmla="*/ 190 h 800"/>
              <a:gd name="T22" fmla="*/ 54 w 800"/>
              <a:gd name="T23" fmla="*/ 319 h 800"/>
              <a:gd name="T24" fmla="*/ 586 w 800"/>
              <a:gd name="T25" fmla="*/ 319 h 800"/>
              <a:gd name="T26" fmla="*/ 400 w 800"/>
              <a:gd name="T27" fmla="*/ 79 h 800"/>
              <a:gd name="T28" fmla="*/ 559 w 800"/>
              <a:gd name="T29" fmla="*/ 319 h 800"/>
              <a:gd name="T30" fmla="*/ 79 w 800"/>
              <a:gd name="T31" fmla="*/ 319 h 800"/>
              <a:gd name="T32" fmla="*/ 102 w 800"/>
              <a:gd name="T33" fmla="*/ 190 h 800"/>
              <a:gd name="T34" fmla="*/ 294 w 800"/>
              <a:gd name="T35" fmla="*/ 520 h 800"/>
              <a:gd name="T36" fmla="*/ 347 w 800"/>
              <a:gd name="T37" fmla="*/ 26 h 800"/>
              <a:gd name="T38" fmla="*/ 361 w 800"/>
              <a:gd name="T39" fmla="*/ 534 h 800"/>
              <a:gd name="T40" fmla="*/ 375 w 800"/>
              <a:gd name="T41" fmla="*/ 14 h 800"/>
              <a:gd name="T42" fmla="*/ 281 w 800"/>
              <a:gd name="T43" fmla="*/ 0 h 800"/>
              <a:gd name="T44" fmla="*/ 267 w 800"/>
              <a:gd name="T45" fmla="*/ 520 h 800"/>
              <a:gd name="T46" fmla="*/ 226 w 800"/>
              <a:gd name="T47" fmla="*/ 106 h 800"/>
              <a:gd name="T48" fmla="*/ 132 w 800"/>
              <a:gd name="T49" fmla="*/ 120 h 800"/>
              <a:gd name="T50" fmla="*/ 146 w 800"/>
              <a:gd name="T51" fmla="*/ 428 h 800"/>
              <a:gd name="T52" fmla="*/ 160 w 800"/>
              <a:gd name="T53" fmla="*/ 134 h 800"/>
              <a:gd name="T54" fmla="*/ 214 w 800"/>
              <a:gd name="T55" fmla="*/ 494 h 800"/>
              <a:gd name="T56" fmla="*/ 241 w 800"/>
              <a:gd name="T57" fmla="*/ 494 h 800"/>
              <a:gd name="T58" fmla="*/ 226 w 800"/>
              <a:gd name="T59" fmla="*/ 106 h 800"/>
              <a:gd name="T60" fmla="*/ 686 w 800"/>
              <a:gd name="T61" fmla="*/ 592 h 800"/>
              <a:gd name="T62" fmla="*/ 676 w 800"/>
              <a:gd name="T63" fmla="*/ 589 h 800"/>
              <a:gd name="T64" fmla="*/ 629 w 800"/>
              <a:gd name="T65" fmla="*/ 630 h 800"/>
              <a:gd name="T66" fmla="*/ 648 w 800"/>
              <a:gd name="T67" fmla="*/ 649 h 800"/>
              <a:gd name="T68" fmla="*/ 760 w 800"/>
              <a:gd name="T69" fmla="*/ 704 h 800"/>
              <a:gd name="T70" fmla="*/ 760 w 800"/>
              <a:gd name="T71" fmla="*/ 761 h 800"/>
              <a:gd name="T72" fmla="*/ 546 w 800"/>
              <a:gd name="T73" fmla="*/ 604 h 800"/>
              <a:gd name="T74" fmla="*/ 528 w 800"/>
              <a:gd name="T75" fmla="*/ 622 h 800"/>
              <a:gd name="T76" fmla="*/ 732 w 800"/>
              <a:gd name="T77" fmla="*/ 800 h 800"/>
              <a:gd name="T78" fmla="*/ 800 w 800"/>
              <a:gd name="T79" fmla="*/ 732 h 800"/>
              <a:gd name="T80" fmla="*/ 640 w 800"/>
              <a:gd name="T81" fmla="*/ 320 h 800"/>
              <a:gd name="T82" fmla="*/ 401 w 800"/>
              <a:gd name="T83" fmla="*/ 24 h 800"/>
              <a:gd name="T84" fmla="*/ 614 w 800"/>
              <a:gd name="T85" fmla="*/ 320 h 800"/>
              <a:gd name="T86" fmla="*/ 26 w 800"/>
              <a:gd name="T87" fmla="*/ 320 h 800"/>
              <a:gd name="T88" fmla="*/ 239 w 800"/>
              <a:gd name="T89" fmla="*/ 24 h 800"/>
              <a:gd name="T90" fmla="*/ 0 w 800"/>
              <a:gd name="T91" fmla="*/ 320 h 800"/>
              <a:gd name="T92" fmla="*/ 640 w 800"/>
              <a:gd name="T93" fmla="*/ 320 h 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800" h="800">
                <a:moveTo>
                  <a:pt x="480" y="414"/>
                </a:moveTo>
                <a:lnTo>
                  <a:pt x="480" y="240"/>
                </a:lnTo>
                <a:lnTo>
                  <a:pt x="426" y="240"/>
                </a:lnTo>
                <a:lnTo>
                  <a:pt x="426" y="494"/>
                </a:lnTo>
                <a:cubicBezTo>
                  <a:pt x="426" y="501"/>
                  <a:pt x="420" y="508"/>
                  <a:pt x="412" y="508"/>
                </a:cubicBezTo>
                <a:cubicBezTo>
                  <a:pt x="405" y="508"/>
                  <a:pt x="399" y="501"/>
                  <a:pt x="399" y="494"/>
                </a:cubicBezTo>
                <a:lnTo>
                  <a:pt x="399" y="228"/>
                </a:lnTo>
                <a:cubicBezTo>
                  <a:pt x="399" y="220"/>
                  <a:pt x="405" y="214"/>
                  <a:pt x="412" y="214"/>
                </a:cubicBezTo>
                <a:lnTo>
                  <a:pt x="492" y="214"/>
                </a:lnTo>
                <a:cubicBezTo>
                  <a:pt x="500" y="214"/>
                  <a:pt x="506" y="220"/>
                  <a:pt x="506" y="228"/>
                </a:cubicBezTo>
                <a:lnTo>
                  <a:pt x="506" y="414"/>
                </a:lnTo>
                <a:cubicBezTo>
                  <a:pt x="506" y="421"/>
                  <a:pt x="500" y="428"/>
                  <a:pt x="492" y="428"/>
                </a:cubicBezTo>
                <a:cubicBezTo>
                  <a:pt x="486" y="426"/>
                  <a:pt x="480" y="421"/>
                  <a:pt x="480" y="414"/>
                </a:cubicBezTo>
                <a:close/>
                <a:moveTo>
                  <a:pt x="604" y="529"/>
                </a:moveTo>
                <a:cubicBezTo>
                  <a:pt x="599" y="534"/>
                  <a:pt x="599" y="543"/>
                  <a:pt x="604" y="547"/>
                </a:cubicBezTo>
                <a:lnTo>
                  <a:pt x="632" y="576"/>
                </a:lnTo>
                <a:cubicBezTo>
                  <a:pt x="635" y="579"/>
                  <a:pt x="639" y="580"/>
                  <a:pt x="642" y="580"/>
                </a:cubicBezTo>
                <a:cubicBezTo>
                  <a:pt x="646" y="580"/>
                  <a:pt x="649" y="579"/>
                  <a:pt x="652" y="576"/>
                </a:cubicBezTo>
                <a:cubicBezTo>
                  <a:pt x="657" y="571"/>
                  <a:pt x="657" y="562"/>
                  <a:pt x="652" y="558"/>
                </a:cubicBezTo>
                <a:lnTo>
                  <a:pt x="624" y="529"/>
                </a:lnTo>
                <a:cubicBezTo>
                  <a:pt x="617" y="522"/>
                  <a:pt x="609" y="522"/>
                  <a:pt x="604" y="529"/>
                </a:cubicBezTo>
                <a:close/>
                <a:moveTo>
                  <a:pt x="102" y="190"/>
                </a:moveTo>
                <a:cubicBezTo>
                  <a:pt x="96" y="186"/>
                  <a:pt x="87" y="189"/>
                  <a:pt x="85" y="195"/>
                </a:cubicBezTo>
                <a:cubicBezTo>
                  <a:pt x="65" y="232"/>
                  <a:pt x="54" y="276"/>
                  <a:pt x="54" y="319"/>
                </a:cubicBezTo>
                <a:cubicBezTo>
                  <a:pt x="54" y="466"/>
                  <a:pt x="174" y="585"/>
                  <a:pt x="320" y="585"/>
                </a:cubicBezTo>
                <a:cubicBezTo>
                  <a:pt x="467" y="585"/>
                  <a:pt x="586" y="465"/>
                  <a:pt x="586" y="319"/>
                </a:cubicBezTo>
                <a:cubicBezTo>
                  <a:pt x="586" y="209"/>
                  <a:pt x="520" y="111"/>
                  <a:pt x="417" y="71"/>
                </a:cubicBezTo>
                <a:cubicBezTo>
                  <a:pt x="411" y="69"/>
                  <a:pt x="402" y="72"/>
                  <a:pt x="400" y="79"/>
                </a:cubicBezTo>
                <a:cubicBezTo>
                  <a:pt x="397" y="85"/>
                  <a:pt x="401" y="94"/>
                  <a:pt x="407" y="96"/>
                </a:cubicBezTo>
                <a:cubicBezTo>
                  <a:pt x="500" y="132"/>
                  <a:pt x="559" y="220"/>
                  <a:pt x="559" y="319"/>
                </a:cubicBezTo>
                <a:cubicBezTo>
                  <a:pt x="559" y="451"/>
                  <a:pt x="451" y="559"/>
                  <a:pt x="319" y="559"/>
                </a:cubicBezTo>
                <a:cubicBezTo>
                  <a:pt x="186" y="559"/>
                  <a:pt x="79" y="451"/>
                  <a:pt x="79" y="319"/>
                </a:cubicBezTo>
                <a:cubicBezTo>
                  <a:pt x="79" y="280"/>
                  <a:pt x="89" y="241"/>
                  <a:pt x="106" y="207"/>
                </a:cubicBezTo>
                <a:cubicBezTo>
                  <a:pt x="111" y="201"/>
                  <a:pt x="109" y="194"/>
                  <a:pt x="102" y="190"/>
                </a:cubicBezTo>
                <a:close/>
                <a:moveTo>
                  <a:pt x="280" y="534"/>
                </a:moveTo>
                <a:cubicBezTo>
                  <a:pt x="287" y="534"/>
                  <a:pt x="294" y="527"/>
                  <a:pt x="294" y="520"/>
                </a:cubicBezTo>
                <a:lnTo>
                  <a:pt x="294" y="26"/>
                </a:lnTo>
                <a:lnTo>
                  <a:pt x="347" y="26"/>
                </a:lnTo>
                <a:lnTo>
                  <a:pt x="347" y="520"/>
                </a:lnTo>
                <a:cubicBezTo>
                  <a:pt x="347" y="527"/>
                  <a:pt x="354" y="534"/>
                  <a:pt x="361" y="534"/>
                </a:cubicBezTo>
                <a:cubicBezTo>
                  <a:pt x="369" y="534"/>
                  <a:pt x="375" y="527"/>
                  <a:pt x="375" y="520"/>
                </a:cubicBezTo>
                <a:lnTo>
                  <a:pt x="375" y="14"/>
                </a:lnTo>
                <a:cubicBezTo>
                  <a:pt x="375" y="6"/>
                  <a:pt x="369" y="0"/>
                  <a:pt x="361" y="0"/>
                </a:cubicBezTo>
                <a:lnTo>
                  <a:pt x="281" y="0"/>
                </a:lnTo>
                <a:cubicBezTo>
                  <a:pt x="274" y="0"/>
                  <a:pt x="267" y="6"/>
                  <a:pt x="267" y="14"/>
                </a:cubicBezTo>
                <a:lnTo>
                  <a:pt x="267" y="520"/>
                </a:lnTo>
                <a:cubicBezTo>
                  <a:pt x="266" y="527"/>
                  <a:pt x="272" y="534"/>
                  <a:pt x="280" y="534"/>
                </a:cubicBezTo>
                <a:close/>
                <a:moveTo>
                  <a:pt x="226" y="106"/>
                </a:moveTo>
                <a:lnTo>
                  <a:pt x="146" y="106"/>
                </a:lnTo>
                <a:cubicBezTo>
                  <a:pt x="139" y="106"/>
                  <a:pt x="132" y="112"/>
                  <a:pt x="132" y="120"/>
                </a:cubicBezTo>
                <a:lnTo>
                  <a:pt x="132" y="414"/>
                </a:lnTo>
                <a:cubicBezTo>
                  <a:pt x="132" y="421"/>
                  <a:pt x="139" y="428"/>
                  <a:pt x="146" y="428"/>
                </a:cubicBezTo>
                <a:cubicBezTo>
                  <a:pt x="154" y="428"/>
                  <a:pt x="160" y="421"/>
                  <a:pt x="160" y="414"/>
                </a:cubicBezTo>
                <a:lnTo>
                  <a:pt x="160" y="134"/>
                </a:lnTo>
                <a:lnTo>
                  <a:pt x="214" y="134"/>
                </a:lnTo>
                <a:lnTo>
                  <a:pt x="214" y="494"/>
                </a:lnTo>
                <a:cubicBezTo>
                  <a:pt x="214" y="501"/>
                  <a:pt x="220" y="508"/>
                  <a:pt x="227" y="508"/>
                </a:cubicBezTo>
                <a:cubicBezTo>
                  <a:pt x="235" y="508"/>
                  <a:pt x="241" y="501"/>
                  <a:pt x="241" y="494"/>
                </a:cubicBezTo>
                <a:lnTo>
                  <a:pt x="241" y="120"/>
                </a:lnTo>
                <a:cubicBezTo>
                  <a:pt x="240" y="112"/>
                  <a:pt x="234" y="106"/>
                  <a:pt x="226" y="106"/>
                </a:cubicBezTo>
                <a:close/>
                <a:moveTo>
                  <a:pt x="780" y="686"/>
                </a:moveTo>
                <a:lnTo>
                  <a:pt x="686" y="592"/>
                </a:lnTo>
                <a:cubicBezTo>
                  <a:pt x="684" y="590"/>
                  <a:pt x="680" y="589"/>
                  <a:pt x="676" y="589"/>
                </a:cubicBezTo>
                <a:lnTo>
                  <a:pt x="676" y="589"/>
                </a:lnTo>
                <a:cubicBezTo>
                  <a:pt x="673" y="589"/>
                  <a:pt x="669" y="590"/>
                  <a:pt x="666" y="592"/>
                </a:cubicBezTo>
                <a:lnTo>
                  <a:pt x="629" y="630"/>
                </a:lnTo>
                <a:cubicBezTo>
                  <a:pt x="624" y="635"/>
                  <a:pt x="624" y="644"/>
                  <a:pt x="629" y="649"/>
                </a:cubicBezTo>
                <a:cubicBezTo>
                  <a:pt x="634" y="654"/>
                  <a:pt x="643" y="654"/>
                  <a:pt x="648" y="649"/>
                </a:cubicBezTo>
                <a:lnTo>
                  <a:pt x="676" y="620"/>
                </a:lnTo>
                <a:lnTo>
                  <a:pt x="760" y="704"/>
                </a:lnTo>
                <a:cubicBezTo>
                  <a:pt x="768" y="711"/>
                  <a:pt x="771" y="721"/>
                  <a:pt x="771" y="732"/>
                </a:cubicBezTo>
                <a:cubicBezTo>
                  <a:pt x="771" y="744"/>
                  <a:pt x="768" y="754"/>
                  <a:pt x="760" y="761"/>
                </a:cubicBezTo>
                <a:cubicBezTo>
                  <a:pt x="745" y="776"/>
                  <a:pt x="719" y="776"/>
                  <a:pt x="704" y="761"/>
                </a:cubicBezTo>
                <a:lnTo>
                  <a:pt x="546" y="604"/>
                </a:lnTo>
                <a:cubicBezTo>
                  <a:pt x="541" y="599"/>
                  <a:pt x="532" y="599"/>
                  <a:pt x="528" y="604"/>
                </a:cubicBezTo>
                <a:cubicBezTo>
                  <a:pt x="523" y="609"/>
                  <a:pt x="523" y="617"/>
                  <a:pt x="528" y="622"/>
                </a:cubicBezTo>
                <a:lnTo>
                  <a:pt x="685" y="780"/>
                </a:lnTo>
                <a:cubicBezTo>
                  <a:pt x="698" y="792"/>
                  <a:pt x="715" y="800"/>
                  <a:pt x="732" y="800"/>
                </a:cubicBezTo>
                <a:cubicBezTo>
                  <a:pt x="750" y="800"/>
                  <a:pt x="766" y="794"/>
                  <a:pt x="780" y="780"/>
                </a:cubicBezTo>
                <a:cubicBezTo>
                  <a:pt x="792" y="767"/>
                  <a:pt x="800" y="751"/>
                  <a:pt x="800" y="732"/>
                </a:cubicBezTo>
                <a:cubicBezTo>
                  <a:pt x="800" y="715"/>
                  <a:pt x="792" y="699"/>
                  <a:pt x="780" y="686"/>
                </a:cubicBezTo>
                <a:close/>
                <a:moveTo>
                  <a:pt x="640" y="320"/>
                </a:moveTo>
                <a:cubicBezTo>
                  <a:pt x="640" y="180"/>
                  <a:pt x="550" y="58"/>
                  <a:pt x="418" y="15"/>
                </a:cubicBezTo>
                <a:cubicBezTo>
                  <a:pt x="410" y="13"/>
                  <a:pt x="403" y="16"/>
                  <a:pt x="401" y="24"/>
                </a:cubicBezTo>
                <a:cubicBezTo>
                  <a:pt x="399" y="31"/>
                  <a:pt x="403" y="39"/>
                  <a:pt x="410" y="40"/>
                </a:cubicBezTo>
                <a:cubicBezTo>
                  <a:pt x="533" y="79"/>
                  <a:pt x="614" y="191"/>
                  <a:pt x="614" y="320"/>
                </a:cubicBezTo>
                <a:cubicBezTo>
                  <a:pt x="614" y="481"/>
                  <a:pt x="483" y="614"/>
                  <a:pt x="320" y="614"/>
                </a:cubicBezTo>
                <a:cubicBezTo>
                  <a:pt x="159" y="614"/>
                  <a:pt x="26" y="483"/>
                  <a:pt x="26" y="320"/>
                </a:cubicBezTo>
                <a:cubicBezTo>
                  <a:pt x="26" y="191"/>
                  <a:pt x="109" y="80"/>
                  <a:pt x="230" y="40"/>
                </a:cubicBezTo>
                <a:cubicBezTo>
                  <a:pt x="238" y="38"/>
                  <a:pt x="241" y="30"/>
                  <a:pt x="239" y="24"/>
                </a:cubicBezTo>
                <a:cubicBezTo>
                  <a:pt x="236" y="16"/>
                  <a:pt x="229" y="13"/>
                  <a:pt x="223" y="15"/>
                </a:cubicBezTo>
                <a:cubicBezTo>
                  <a:pt x="89" y="58"/>
                  <a:pt x="0" y="180"/>
                  <a:pt x="0" y="320"/>
                </a:cubicBezTo>
                <a:cubicBezTo>
                  <a:pt x="0" y="496"/>
                  <a:pt x="144" y="640"/>
                  <a:pt x="320" y="640"/>
                </a:cubicBezTo>
                <a:cubicBezTo>
                  <a:pt x="496" y="640"/>
                  <a:pt x="640" y="496"/>
                  <a:pt x="640" y="320"/>
                </a:cubicBezTo>
                <a:close/>
              </a:path>
            </a:pathLst>
          </a:custGeom>
          <a:solidFill>
            <a:schemeClr val="tx2">
              <a:lumMod val="50000"/>
            </a:schemeClr>
          </a:solidFill>
          <a:ln w="0">
            <a:noFill/>
            <a:prstDash val="solid"/>
            <a:round/>
          </a:ln>
        </p:spPr>
        <p:txBody>
          <a:bodyPr vert="horz" wrap="square" lIns="91424" tIns="45712" rIns="91424" bIns="45712" numCol="1" anchor="t" anchorCtr="0" compatLnSpc="1"/>
          <a:lstStyle/>
          <a:p>
            <a:pPr defTabSz="913765"/>
            <a:endParaRPr lang="en-US" sz="1200">
              <a:solidFill>
                <a:prstClr val="black"/>
              </a:solidFill>
              <a:latin typeface="Questrial"/>
            </a:endParaRPr>
          </a:p>
        </p:txBody>
      </p:sp>
      <p:pic>
        <p:nvPicPr>
          <p:cNvPr id="2" name="生成关于桃花的视频">
            <a:hlinkClick r:id="" action="ppaction://media"/>
            <a:extLst>
              <a:ext uri="{FF2B5EF4-FFF2-40B4-BE49-F238E27FC236}">
                <a16:creationId xmlns:a16="http://schemas.microsoft.com/office/drawing/2014/main" id="{CC3E0C83-F8B2-A130-2D22-8B300028CBB3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5328486" y="1706600"/>
            <a:ext cx="6863514" cy="386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5639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3000"/>
    </mc:Choice>
    <mc:Fallback xmlns="">
      <p:transition advTm="3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375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šḷiḋ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ṧḻîdé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í$ḻidé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8" name="组合 7"/>
          <p:cNvGrpSpPr/>
          <p:nvPr/>
        </p:nvGrpSpPr>
        <p:grpSpPr>
          <a:xfrm rot="16200000">
            <a:off x="-1289434" y="1721098"/>
            <a:ext cx="5543967" cy="3415803"/>
            <a:chOff x="-379056" y="1311437"/>
            <a:chExt cx="6253842" cy="3853178"/>
          </a:xfrm>
        </p:grpSpPr>
        <p:sp>
          <p:nvSpPr>
            <p:cNvPr id="14" name="îs1iḍé"/>
            <p:cNvSpPr/>
            <p:nvPr userDrawn="1"/>
          </p:nvSpPr>
          <p:spPr>
            <a:xfrm rot="5772073">
              <a:off x="2102886" y="1311437"/>
              <a:ext cx="3771900" cy="3771900"/>
            </a:xfrm>
            <a:prstGeom prst="ellips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28294">
                  <a:schemeClr val="tx2">
                    <a:alpha val="45000"/>
                  </a:schemeClr>
                </a:gs>
                <a:gs pos="94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ïṧ1îḍê"/>
            <p:cNvSpPr/>
            <p:nvPr userDrawn="1"/>
          </p:nvSpPr>
          <p:spPr>
            <a:xfrm rot="17450176">
              <a:off x="-379056" y="1392715"/>
              <a:ext cx="3771900" cy="3771900"/>
            </a:xfrm>
            <a:prstGeom prst="ellips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28294">
                  <a:schemeClr val="tx2">
                    <a:alpha val="33000"/>
                  </a:schemeClr>
                </a:gs>
                <a:gs pos="94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7" name="ïŝḻídè"/>
          <p:cNvSpPr/>
          <p:nvPr userDrawn="1"/>
        </p:nvSpPr>
        <p:spPr>
          <a:xfrm rot="1422970">
            <a:off x="10362709" y="2198486"/>
            <a:ext cx="1128930" cy="1128930"/>
          </a:xfrm>
          <a:prstGeom prst="ellipse">
            <a:avLst/>
          </a:prstGeom>
          <a:gradFill>
            <a:gsLst>
              <a:gs pos="0">
                <a:schemeClr val="accent1">
                  <a:alpha val="0"/>
                </a:schemeClr>
              </a:gs>
              <a:gs pos="28294">
                <a:schemeClr val="bg2">
                  <a:alpha val="23000"/>
                </a:schemeClr>
              </a:gs>
              <a:gs pos="94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Text Placeholder 47"/>
          <p:cNvSpPr txBox="1"/>
          <p:nvPr/>
        </p:nvSpPr>
        <p:spPr>
          <a:xfrm>
            <a:off x="4554031" y="3512953"/>
            <a:ext cx="5062307" cy="159241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endParaRPr lang="en-US" sz="1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Text Placeholder 46"/>
          <p:cNvSpPr txBox="1"/>
          <p:nvPr/>
        </p:nvSpPr>
        <p:spPr>
          <a:xfrm>
            <a:off x="4752792" y="3409425"/>
            <a:ext cx="4330248" cy="64963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indent="0" defTabSz="9144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600">
                <a:latin typeface="Aharoni" pitchFamily="2" charset="-79"/>
                <a:cs typeface="Aharoni" pitchFamily="2" charset="-79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zh-CN" altLang="en-US" dirty="0"/>
              <a:t>模型选择与实际应用</a:t>
            </a:r>
            <a:endParaRPr lang="en-US" dirty="0"/>
          </a:p>
        </p:txBody>
      </p:sp>
      <p:sp>
        <p:nvSpPr>
          <p:cNvPr id="11" name="Text Placeholder 46"/>
          <p:cNvSpPr txBox="1"/>
          <p:nvPr/>
        </p:nvSpPr>
        <p:spPr>
          <a:xfrm>
            <a:off x="4752792" y="2552802"/>
            <a:ext cx="4330248" cy="64963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6000" dirty="0">
                <a:solidFill>
                  <a:schemeClr val="accent4"/>
                </a:solidFill>
              </a:rPr>
              <a:t>第四部分</a:t>
            </a:r>
            <a:endParaRPr lang="en-US" sz="6000" dirty="0">
              <a:solidFill>
                <a:schemeClr val="accent4"/>
              </a:solidFill>
            </a:endParaRPr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3000"/>
    </mc:Choice>
    <mc:Fallback xmlns="">
      <p:transition advTm="3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ur="50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2" presetID="53" presetClass="entr" presetSubtype="16" dur="5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8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 tmFilter="0,0; .5, 1; 1, 1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 tmFilter="0,0; .5, 1; 1, 1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 nodeType="afterGroup">
                            <p:stCondLst>
                              <p:cond delay="1900"/>
                            </p:stCondLst>
                            <p:childTnLst>
                              <p:par>
                                <p:cTn id="33" presetID="22" presetClass="entr" presetSubtype="4" dur="5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9" grpId="0"/>
      <p:bldP spid="10" grpId="0"/>
      <p:bldP spid="11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ounded Rectangle 984"/>
          <p:cNvSpPr/>
          <p:nvPr/>
        </p:nvSpPr>
        <p:spPr>
          <a:xfrm>
            <a:off x="1143000" y="695325"/>
            <a:ext cx="10001251" cy="5562600"/>
          </a:xfrm>
          <a:prstGeom prst="roundRect">
            <a:avLst>
              <a:gd name="adj" fmla="val 6688"/>
            </a:avLst>
          </a:prstGeom>
          <a:solidFill>
            <a:schemeClr val="bg1"/>
          </a:solidFill>
          <a:ln>
            <a:noFill/>
          </a:ln>
          <a:effectLst>
            <a:outerShdw blurRad="1270000" dist="889000" dir="3000000" algn="tl" rotWithShape="0">
              <a:schemeClr val="tx2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en-US" sz="900"/>
          </a:p>
        </p:txBody>
      </p:sp>
      <p:sp>
        <p:nvSpPr>
          <p:cNvPr id="20" name="Rectangle 1"/>
          <p:cNvSpPr>
            <a:spLocks noChangeAspect="1"/>
          </p:cNvSpPr>
          <p:nvPr/>
        </p:nvSpPr>
        <p:spPr>
          <a:xfrm>
            <a:off x="8626475" y="557806"/>
            <a:ext cx="2556000" cy="572739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en-US" sz="900"/>
          </a:p>
        </p:txBody>
      </p:sp>
      <p:sp>
        <p:nvSpPr>
          <p:cNvPr id="21" name="Rectangle 165"/>
          <p:cNvSpPr>
            <a:spLocks noChangeAspect="1"/>
          </p:cNvSpPr>
          <p:nvPr/>
        </p:nvSpPr>
        <p:spPr>
          <a:xfrm>
            <a:off x="6086147" y="557806"/>
            <a:ext cx="2556000" cy="572739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en-US" sz="900"/>
          </a:p>
        </p:txBody>
      </p:sp>
      <p:sp>
        <p:nvSpPr>
          <p:cNvPr id="22" name="Rectangle 166"/>
          <p:cNvSpPr>
            <a:spLocks noChangeAspect="1"/>
          </p:cNvSpPr>
          <p:nvPr/>
        </p:nvSpPr>
        <p:spPr>
          <a:xfrm>
            <a:off x="3545819" y="557806"/>
            <a:ext cx="2556000" cy="572739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en-US" sz="900"/>
          </a:p>
        </p:txBody>
      </p:sp>
      <p:sp>
        <p:nvSpPr>
          <p:cNvPr id="23" name="Rectangle 167"/>
          <p:cNvSpPr>
            <a:spLocks noChangeAspect="1"/>
          </p:cNvSpPr>
          <p:nvPr/>
        </p:nvSpPr>
        <p:spPr>
          <a:xfrm>
            <a:off x="1005491" y="557806"/>
            <a:ext cx="2556000" cy="5727395"/>
          </a:xfrm>
          <a:prstGeom prst="rect">
            <a:avLst/>
          </a:prstGeom>
          <a:solidFill>
            <a:schemeClr val="tx2">
              <a:alpha val="9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en-US" sz="900"/>
          </a:p>
        </p:txBody>
      </p:sp>
      <p:sp>
        <p:nvSpPr>
          <p:cNvPr id="24" name="Shape 41"/>
          <p:cNvSpPr txBox="1"/>
          <p:nvPr/>
        </p:nvSpPr>
        <p:spPr>
          <a:xfrm>
            <a:off x="3773985" y="3429000"/>
            <a:ext cx="2097561" cy="2644669"/>
          </a:xfrm>
          <a:prstGeom prst="rect">
            <a:avLst/>
          </a:prstGeom>
        </p:spPr>
        <p:txBody>
          <a:bodyPr lIns="0" tIns="0" rIns="0" bIns="0" anchor="t" anchorCtr="0">
            <a:normAutofit fontScale="70000" lnSpcReduction="20000"/>
          </a:bodyPr>
          <a:lstStyle>
            <a:lvl1pPr marL="342900" indent="-342900" algn="l" defTabSz="685800" rtl="0" eaLnBrk="1" latinLnBrk="0" hangingPunct="1">
              <a:lnSpc>
                <a:spcPct val="15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800" kern="1200" spc="0" baseline="0">
                <a:solidFill>
                  <a:schemeClr val="tx1">
                    <a:alpha val="60000"/>
                  </a:schemeClr>
                </a:solidFill>
                <a:latin typeface="+mn-lt"/>
                <a:ea typeface="Work Sans"/>
                <a:cs typeface="Work Sans"/>
                <a:sym typeface="Work San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3400" dirty="0"/>
              <a:t>成本控制</a:t>
            </a:r>
          </a:p>
          <a:p>
            <a:pPr marL="0" indent="0">
              <a:buNone/>
            </a:pPr>
            <a:r>
              <a:rPr lang="zh-CN" altLang="en-US" sz="1600" b="1" dirty="0"/>
              <a:t>应用场景示例：</a:t>
            </a:r>
            <a:br>
              <a:rPr lang="zh-CN" altLang="en-US" sz="1600" dirty="0"/>
            </a:br>
            <a:r>
              <a:rPr lang="en-US" altLang="zh-CN" sz="1600" dirty="0"/>
              <a:t>          </a:t>
            </a:r>
            <a:r>
              <a:rPr lang="zh-CN" altLang="en-US" sz="1600" b="1" dirty="0"/>
              <a:t>供应链调度</a:t>
            </a:r>
            <a:r>
              <a:rPr lang="zh-CN" altLang="en-US" sz="1600" dirty="0"/>
              <a:t>：中小企业可选</a:t>
            </a:r>
            <a:r>
              <a:rPr lang="en-US" altLang="zh-CN" sz="1600" dirty="0"/>
              <a:t>DeepSeek-R1</a:t>
            </a:r>
            <a:r>
              <a:rPr lang="zh-CN" altLang="en-US" sz="1600" dirty="0"/>
              <a:t>，因其推理成本降低约</a:t>
            </a:r>
            <a:r>
              <a:rPr lang="en-US" altLang="zh-CN" sz="1600" dirty="0"/>
              <a:t>60%</a:t>
            </a:r>
            <a:r>
              <a:rPr lang="zh-CN" altLang="en-US" sz="1600" dirty="0"/>
              <a:t>，如蔚来汽车利用其优化供应链，年节省</a:t>
            </a:r>
            <a:r>
              <a:rPr lang="en-US" altLang="zh-CN" sz="1600" dirty="0"/>
              <a:t>AI</a:t>
            </a:r>
            <a:r>
              <a:rPr lang="zh-CN" altLang="en-US" sz="1600" dirty="0"/>
              <a:t>支出可达数千万元。</a:t>
            </a:r>
            <a:r>
              <a:rPr lang="zh-CN" altLang="en-US" sz="1600" b="1" dirty="0"/>
              <a:t>补充：</a:t>
            </a:r>
            <a:br>
              <a:rPr lang="zh-CN" altLang="en-US" sz="1600" dirty="0"/>
            </a:br>
            <a:r>
              <a:rPr lang="en-US" altLang="zh-CN" sz="1600" dirty="0"/>
              <a:t>          </a:t>
            </a:r>
            <a:r>
              <a:rPr lang="zh-CN" altLang="en-US" sz="1600" dirty="0"/>
              <a:t>模型部署成本、运维费用以及硬件要求都是企业在决策时需要综合考虑的因素。</a:t>
            </a:r>
          </a:p>
        </p:txBody>
      </p:sp>
      <p:sp>
        <p:nvSpPr>
          <p:cNvPr id="25" name="Shape 41"/>
          <p:cNvSpPr txBox="1"/>
          <p:nvPr/>
        </p:nvSpPr>
        <p:spPr>
          <a:xfrm>
            <a:off x="1225711" y="3429000"/>
            <a:ext cx="2095955" cy="2644669"/>
          </a:xfrm>
          <a:prstGeom prst="rect">
            <a:avLst/>
          </a:prstGeom>
        </p:spPr>
        <p:txBody>
          <a:bodyPr lIns="0" tIns="0" rIns="0" bIns="0" anchor="t" anchorCtr="0">
            <a:normAutofit fontScale="62500" lnSpcReduction="20000"/>
          </a:bodyPr>
          <a:lstStyle>
            <a:lvl1pPr marL="342900" indent="-342900" algn="l" defTabSz="685800" rtl="0" eaLnBrk="1" latinLnBrk="0" hangingPunct="1">
              <a:lnSpc>
                <a:spcPct val="15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800" kern="1200" spc="0" baseline="0">
                <a:solidFill>
                  <a:schemeClr val="tx1">
                    <a:alpha val="60000"/>
                  </a:schemeClr>
                </a:solidFill>
                <a:latin typeface="+mn-lt"/>
                <a:ea typeface="Work Sans"/>
                <a:cs typeface="Work Sans"/>
                <a:sym typeface="Work San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3800" dirty="0"/>
              <a:t>精度要求</a:t>
            </a:r>
          </a:p>
          <a:p>
            <a:pPr marL="0" indent="0">
              <a:buNone/>
            </a:pPr>
            <a:r>
              <a:rPr lang="zh-CN" altLang="en-US" sz="1600" b="1" dirty="0"/>
              <a:t>应用场景示例：</a:t>
            </a:r>
            <a:br>
              <a:rPr lang="zh-CN" altLang="en-US" sz="1600" dirty="0"/>
            </a:br>
            <a:r>
              <a:rPr lang="en-US" altLang="zh-CN" sz="1600" dirty="0"/>
              <a:t>            </a:t>
            </a:r>
            <a:r>
              <a:rPr lang="zh-CN" altLang="en-US" sz="1600" b="1" dirty="0"/>
              <a:t>医疗诊断</a:t>
            </a:r>
            <a:r>
              <a:rPr lang="zh-CN" altLang="en-US" sz="1600" dirty="0"/>
              <a:t>：例如协和医院联合</a:t>
            </a:r>
            <a:r>
              <a:rPr lang="en-US" altLang="zh-CN" sz="1600" dirty="0"/>
              <a:t>GLM-4-Plus</a:t>
            </a:r>
            <a:r>
              <a:rPr lang="zh-CN" altLang="en-US" sz="1600" dirty="0"/>
              <a:t>开发</a:t>
            </a:r>
            <a:r>
              <a:rPr lang="en-US" altLang="zh-CN" sz="1600" dirty="0"/>
              <a:t>AI</a:t>
            </a:r>
            <a:r>
              <a:rPr lang="zh-CN" altLang="en-US" sz="1600" dirty="0"/>
              <a:t>分诊系统，要求误诊率极低（</a:t>
            </a:r>
            <a:r>
              <a:rPr lang="en-US" altLang="zh-CN" sz="1600" dirty="0"/>
              <a:t>&lt;0.1%</a:t>
            </a:r>
            <a:r>
              <a:rPr lang="zh-CN" altLang="en-US" sz="1600" dirty="0"/>
              <a:t>），确保诊断结果精准。</a:t>
            </a:r>
          </a:p>
          <a:p>
            <a:pPr marL="0" indent="0">
              <a:buNone/>
            </a:pPr>
            <a:r>
              <a:rPr lang="zh-CN" altLang="en-US" sz="1600" b="1" dirty="0"/>
              <a:t>补充：</a:t>
            </a:r>
            <a:br>
              <a:rPr lang="zh-CN" altLang="en-US" sz="1600" dirty="0"/>
            </a:br>
            <a:r>
              <a:rPr lang="en-US" altLang="zh-CN" sz="1600" dirty="0"/>
              <a:t>      </a:t>
            </a:r>
            <a:r>
              <a:rPr lang="zh-CN" altLang="en-US" sz="1600" dirty="0"/>
              <a:t>对于高度专业化领域，模型不仅需要有强大的语义理解能力，还必须在专业术语和数据处理上具备更高精准度。</a:t>
            </a:r>
          </a:p>
        </p:txBody>
      </p:sp>
      <p:sp>
        <p:nvSpPr>
          <p:cNvPr id="26" name="Shape 41"/>
          <p:cNvSpPr txBox="1"/>
          <p:nvPr/>
        </p:nvSpPr>
        <p:spPr>
          <a:xfrm>
            <a:off x="8856221" y="3429000"/>
            <a:ext cx="2097561" cy="2644669"/>
          </a:xfrm>
          <a:prstGeom prst="rect">
            <a:avLst/>
          </a:prstGeom>
        </p:spPr>
        <p:txBody>
          <a:bodyPr lIns="0" tIns="0" rIns="0" bIns="0" anchor="t" anchorCtr="0">
            <a:normAutofit fontScale="70000" lnSpcReduction="20000"/>
          </a:bodyPr>
          <a:lstStyle>
            <a:lvl1pPr marL="342900" indent="-342900" algn="l" defTabSz="685800" rtl="0" eaLnBrk="1" latinLnBrk="0" hangingPunct="1">
              <a:lnSpc>
                <a:spcPct val="15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800" kern="1200" spc="0" baseline="0">
                <a:solidFill>
                  <a:schemeClr val="tx1">
                    <a:alpha val="60000"/>
                  </a:schemeClr>
                </a:solidFill>
                <a:latin typeface="+mn-lt"/>
                <a:ea typeface="Work Sans"/>
                <a:cs typeface="Work Sans"/>
                <a:sym typeface="Work San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3000" dirty="0"/>
              <a:t>实时需求</a:t>
            </a:r>
          </a:p>
          <a:p>
            <a:pPr marL="0" indent="0">
              <a:buNone/>
            </a:pPr>
            <a:r>
              <a:rPr lang="zh-CN" altLang="en-US" sz="1600" b="1" dirty="0"/>
              <a:t>应用场景示例：</a:t>
            </a:r>
            <a:br>
              <a:rPr lang="zh-CN" altLang="en-US" sz="1600" dirty="0"/>
            </a:br>
            <a:r>
              <a:rPr lang="en-US" altLang="zh-CN" sz="1600" dirty="0"/>
              <a:t>          </a:t>
            </a:r>
            <a:r>
              <a:rPr lang="zh-CN" altLang="en-US" sz="1600" b="1" dirty="0"/>
              <a:t>直播互动</a:t>
            </a:r>
            <a:r>
              <a:rPr lang="zh-CN" altLang="en-US" sz="1600" dirty="0"/>
              <a:t>：例如抖音直播采用</a:t>
            </a:r>
            <a:r>
              <a:rPr lang="en-US" altLang="zh-CN" sz="1600" dirty="0"/>
              <a:t>Llama 3.2-3B</a:t>
            </a:r>
            <a:r>
              <a:rPr lang="zh-CN" altLang="en-US" sz="1600" dirty="0"/>
              <a:t>，端侧延迟低于</a:t>
            </a:r>
            <a:r>
              <a:rPr lang="en-US" altLang="zh-CN" sz="1600" dirty="0"/>
              <a:t>0.3</a:t>
            </a:r>
            <a:r>
              <a:rPr lang="zh-CN" altLang="en-US" sz="1600" dirty="0"/>
              <a:t>秒，实现实时弹幕情感分析与违规内容识别加速。</a:t>
            </a:r>
          </a:p>
          <a:p>
            <a:pPr marL="0" indent="0">
              <a:buNone/>
            </a:pPr>
            <a:r>
              <a:rPr lang="zh-CN" altLang="en-US" sz="1600" b="1"/>
              <a:t>补充：</a:t>
            </a:r>
            <a:br>
              <a:rPr lang="zh-CN" altLang="en-US" sz="1600" dirty="0"/>
            </a:br>
            <a:r>
              <a:rPr lang="en-US" altLang="zh-CN" sz="1600" dirty="0"/>
              <a:t>          </a:t>
            </a:r>
            <a:r>
              <a:rPr lang="zh-CN" altLang="en-US" sz="1600" dirty="0"/>
              <a:t>对实时性要求极高的场景，如在线互动、直播解说，模型的推理速度和响应时延是首要考虑因素。</a:t>
            </a:r>
          </a:p>
        </p:txBody>
      </p:sp>
      <p:sp>
        <p:nvSpPr>
          <p:cNvPr id="27" name="Shape 41"/>
          <p:cNvSpPr txBox="1"/>
          <p:nvPr/>
        </p:nvSpPr>
        <p:spPr>
          <a:xfrm>
            <a:off x="6311983" y="3429000"/>
            <a:ext cx="2098812" cy="2644669"/>
          </a:xfrm>
          <a:prstGeom prst="rect">
            <a:avLst/>
          </a:prstGeom>
        </p:spPr>
        <p:txBody>
          <a:bodyPr lIns="0" tIns="0" rIns="0" bIns="0" anchor="t" anchorCtr="0">
            <a:normAutofit fontScale="62500" lnSpcReduction="20000"/>
          </a:bodyPr>
          <a:lstStyle>
            <a:lvl1pPr marL="342900" indent="-342900" algn="l" defTabSz="685800" rtl="0" eaLnBrk="1" latinLnBrk="0" hangingPunct="1">
              <a:lnSpc>
                <a:spcPct val="15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800" kern="1200" spc="0" baseline="0">
                <a:solidFill>
                  <a:schemeClr val="tx1">
                    <a:alpha val="60000"/>
                  </a:schemeClr>
                </a:solidFill>
                <a:latin typeface="+mn-lt"/>
                <a:ea typeface="Work Sans"/>
                <a:cs typeface="Work Sans"/>
                <a:sym typeface="Work San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3400" dirty="0"/>
              <a:t>合规安全</a:t>
            </a:r>
            <a:endParaRPr lang="en-US" altLang="zh-CN" sz="3400" dirty="0"/>
          </a:p>
          <a:p>
            <a:pPr marL="0" indent="0">
              <a:buNone/>
            </a:pPr>
            <a:r>
              <a:rPr lang="zh-CN" altLang="en-US" sz="1600" b="1" dirty="0"/>
              <a:t>应用场景示例：</a:t>
            </a:r>
            <a:br>
              <a:rPr lang="zh-CN" altLang="en-US" sz="1600" dirty="0"/>
            </a:br>
            <a:r>
              <a:rPr lang="en-US" altLang="zh-CN" sz="1600" dirty="0"/>
              <a:t>                </a:t>
            </a:r>
            <a:r>
              <a:rPr lang="zh-CN" altLang="en-US" sz="1600" b="1" dirty="0"/>
              <a:t>政务系统</a:t>
            </a:r>
            <a:r>
              <a:rPr lang="zh-CN" altLang="en-US" sz="1600" dirty="0"/>
              <a:t>：由于必须通过网信办备案，国内政务系统普遍选择通义千问</a:t>
            </a:r>
            <a:r>
              <a:rPr lang="en-US" altLang="zh-CN" sz="1600" dirty="0"/>
              <a:t>2.5</a:t>
            </a:r>
            <a:r>
              <a:rPr lang="zh-CN" altLang="en-US" sz="1600" dirty="0"/>
              <a:t>，确保敏感信息拦截准确率高（如</a:t>
            </a:r>
            <a:r>
              <a:rPr lang="en-US" altLang="zh-CN" sz="1600" dirty="0"/>
              <a:t>99.99%</a:t>
            </a:r>
            <a:r>
              <a:rPr lang="zh-CN" altLang="en-US" sz="1600" dirty="0"/>
              <a:t>）。</a:t>
            </a:r>
          </a:p>
          <a:p>
            <a:pPr marL="0" indent="0">
              <a:buNone/>
            </a:pPr>
            <a:r>
              <a:rPr lang="zh-CN" altLang="en-US" sz="1600" b="1" dirty="0"/>
              <a:t>补充：</a:t>
            </a:r>
            <a:br>
              <a:rPr lang="zh-CN" altLang="en-US" sz="1600" dirty="0"/>
            </a:br>
            <a:r>
              <a:rPr lang="en-US" altLang="zh-CN" sz="1600" dirty="0"/>
              <a:t>         </a:t>
            </a:r>
            <a:r>
              <a:rPr lang="zh-CN" altLang="en-US" sz="1600" dirty="0"/>
              <a:t>数据合规、隐私保护与安全审核是公共服务和金融行业的核心需求，合规性强的国产模型更受青睐。</a:t>
            </a:r>
          </a:p>
        </p:txBody>
      </p:sp>
      <p:pic>
        <p:nvPicPr>
          <p:cNvPr id="35" name="图片 3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54985" y="1316767"/>
            <a:ext cx="1817232" cy="1816708"/>
          </a:xfrm>
          <a:prstGeom prst="ellipse">
            <a:avLst/>
          </a:prstGeom>
          <a:ln>
            <a:noFill/>
          </a:ln>
          <a:effectLst>
            <a:outerShdw blurRad="317500" dist="190500" dir="9000000" algn="r" rotWithShape="0">
              <a:prstClr val="black">
                <a:alpha val="40000"/>
              </a:prstClr>
            </a:outerShdw>
          </a:effectLst>
        </p:spPr>
      </p:pic>
      <p:pic>
        <p:nvPicPr>
          <p:cNvPr id="36" name="图片 35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516665" y="1316767"/>
            <a:ext cx="1817231" cy="1816708"/>
          </a:xfrm>
          <a:prstGeom prst="ellipse">
            <a:avLst/>
          </a:prstGeom>
          <a:ln>
            <a:noFill/>
          </a:ln>
          <a:effectLst>
            <a:outerShdw blurRad="317500" dist="190500" dir="9000000" algn="r" rotWithShape="0">
              <a:prstClr val="black">
                <a:alpha val="40000"/>
              </a:prstClr>
            </a:outerShdw>
          </a:effectLst>
        </p:spPr>
      </p:pic>
      <p:pic>
        <p:nvPicPr>
          <p:cNvPr id="37" name="图片 36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7816" y="1316766"/>
            <a:ext cx="1816708" cy="1816708"/>
          </a:xfrm>
          <a:prstGeom prst="ellipse">
            <a:avLst/>
          </a:prstGeom>
          <a:ln>
            <a:noFill/>
          </a:ln>
          <a:effectLst>
            <a:outerShdw blurRad="317500" dist="190500" dir="9000000" algn="r" rotWithShape="0">
              <a:prstClr val="black">
                <a:alpha val="40000"/>
              </a:prstClr>
            </a:outerShdw>
          </a:effectLst>
        </p:spPr>
      </p:pic>
      <p:pic>
        <p:nvPicPr>
          <p:cNvPr id="38" name="图片 37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38437" y="1316765"/>
            <a:ext cx="1816713" cy="1816711"/>
          </a:xfrm>
          <a:prstGeom prst="ellipse">
            <a:avLst/>
          </a:prstGeom>
          <a:ln>
            <a:noFill/>
          </a:ln>
          <a:effectLst>
            <a:outerShdw blurRad="317500" dist="190500" dir="9000000" algn="r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3000"/>
    </mc:Choice>
    <mc:Fallback xmlns="">
      <p:transition advTm="3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dur="5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dur="5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2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dur="5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2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2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2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dur="5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42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42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 nodeType="afterGroup">
                            <p:stCondLst>
                              <p:cond delay="700"/>
                            </p:stCondLst>
                            <p:childTnLst>
                              <p:par>
                                <p:cTn id="61" presetID="12" presetClass="entr" presetSubtype="4" dur="5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64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 nodeType="afterGroup">
                            <p:stCondLst>
                              <p:cond delay="1200"/>
                            </p:stCondLst>
                            <p:childTnLst>
                              <p:par>
                                <p:cTn id="66" presetID="12" presetClass="entr" presetSubtype="4" dur="5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8" dur="500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6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 nodeType="afterGroup">
                            <p:stCondLst>
                              <p:cond delay="1700"/>
                            </p:stCondLst>
                            <p:childTnLst>
                              <p:par>
                                <p:cTn id="71" presetID="12" presetClass="entr" presetSubtype="4" dur="5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7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 nodeType="afterGroup">
                            <p:stCondLst>
                              <p:cond delay="2200"/>
                            </p:stCondLst>
                            <p:childTnLst>
                              <p:par>
                                <p:cTn id="76" presetID="12" presetClass="entr" presetSubtype="4" dur="5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8" dur="500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7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build="p"/>
      <p:bldP spid="25" grpId="0" build="p"/>
      <p:bldP spid="26" grpId="0" build="p"/>
      <p:bldP spid="27" grpId="0" build="p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tx2">
                <a:lumMod val="60000"/>
                <a:lumOff val="40000"/>
                <a:alpha val="57000"/>
              </a:schemeClr>
            </a:gs>
            <a:gs pos="0">
              <a:schemeClr val="tx2">
                <a:lumMod val="20000"/>
                <a:lumOff val="80000"/>
                <a:alpha val="0"/>
              </a:schemeClr>
            </a:gs>
          </a:gsLst>
          <a:lin ang="0" scaled="0"/>
        </a:gradFill>
        <a:effectLst/>
      </p:bgPr>
    </p:bg>
    <p:spTree>
      <p:nvGrpSpPr>
        <p:cNvPr id="1" name="iṥļïd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/>
        </p:nvGrpSpPr>
        <p:grpSpPr>
          <a:xfrm>
            <a:off x="2877674" y="1306125"/>
            <a:ext cx="6388221" cy="3819942"/>
            <a:chOff x="2877674" y="1306125"/>
            <a:chExt cx="6388221" cy="3819942"/>
          </a:xfrm>
        </p:grpSpPr>
        <p:sp>
          <p:nvSpPr>
            <p:cNvPr id="12" name="îṡḻîdè"/>
            <p:cNvSpPr/>
            <p:nvPr userDrawn="1"/>
          </p:nvSpPr>
          <p:spPr>
            <a:xfrm rot="5772073">
              <a:off x="5493995" y="1306125"/>
              <a:ext cx="3771900" cy="3771900"/>
            </a:xfrm>
            <a:prstGeom prst="ellips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28294">
                  <a:schemeClr val="accent1">
                    <a:lumMod val="60000"/>
                    <a:lumOff val="40000"/>
                    <a:alpha val="61000"/>
                  </a:schemeClr>
                </a:gs>
                <a:gs pos="94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îsḻíḍe"/>
            <p:cNvSpPr/>
            <p:nvPr userDrawn="1"/>
          </p:nvSpPr>
          <p:spPr>
            <a:xfrm rot="17450176">
              <a:off x="2877674" y="1354167"/>
              <a:ext cx="3771900" cy="3771900"/>
            </a:xfrm>
            <a:prstGeom prst="ellips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28294">
                  <a:schemeClr val="accent1">
                    <a:lumMod val="60000"/>
                    <a:lumOff val="40000"/>
                    <a:alpha val="41000"/>
                  </a:schemeClr>
                </a:gs>
                <a:gs pos="94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6" name="组合 15"/>
          <p:cNvGrpSpPr/>
          <p:nvPr/>
        </p:nvGrpSpPr>
        <p:grpSpPr>
          <a:xfrm rot="16819501">
            <a:off x="11217593" y="532827"/>
            <a:ext cx="501013" cy="501013"/>
            <a:chOff x="3738861" y="1313527"/>
            <a:chExt cx="3771900" cy="3771900"/>
          </a:xfrm>
        </p:grpSpPr>
        <p:sp>
          <p:nvSpPr>
            <p:cNvPr id="17" name="îS1ïḋe"/>
            <p:cNvSpPr/>
            <p:nvPr userDrawn="1"/>
          </p:nvSpPr>
          <p:spPr>
            <a:xfrm rot="6203470">
              <a:off x="3738861" y="1313527"/>
              <a:ext cx="3771900" cy="3771900"/>
            </a:xfrm>
            <a:prstGeom prst="ellipse">
              <a:avLst/>
            </a:prstGeom>
            <a:gradFill>
              <a:gsLst>
                <a:gs pos="65000">
                  <a:srgbClr val="D96D61">
                    <a:alpha val="31000"/>
                  </a:srgbClr>
                </a:gs>
                <a:gs pos="0">
                  <a:srgbClr val="D96D61">
                    <a:alpha val="0"/>
                  </a:srgbClr>
                </a:gs>
                <a:gs pos="100000">
                  <a:srgbClr val="D96D61">
                    <a:alpha val="56000"/>
                  </a:srgbClr>
                </a:gs>
              </a:gsLst>
              <a:lin ang="0" scaled="0"/>
            </a:gradFill>
            <a:ln>
              <a:noFill/>
            </a:ln>
            <a:effectLst>
              <a:glow rad="304800">
                <a:schemeClr val="accent1">
                  <a:alpha val="1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8" name="iślíḑè"/>
            <p:cNvSpPr/>
            <p:nvPr userDrawn="1"/>
          </p:nvSpPr>
          <p:spPr>
            <a:xfrm rot="6203470">
              <a:off x="3738861" y="1313527"/>
              <a:ext cx="3771900" cy="3771900"/>
            </a:xfrm>
            <a:prstGeom prst="ellips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28294">
                  <a:srgbClr val="E8414C">
                    <a:alpha val="10000"/>
                  </a:srgbClr>
                </a:gs>
                <a:gs pos="94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2" name="îSļîdé"/>
          <p:cNvSpPr>
            <a:spLocks noGrp="1"/>
          </p:cNvSpPr>
          <p:nvPr>
            <p:ph type="body" sz="quarter" idx="10"/>
          </p:nvPr>
        </p:nvSpPr>
        <p:spPr>
          <a:xfrm>
            <a:off x="1373408" y="2100390"/>
            <a:ext cx="9445184" cy="1474043"/>
          </a:xfrm>
        </p:spPr>
        <p:txBody>
          <a:bodyPr/>
          <a:lstStyle/>
          <a:p>
            <a:pPr algn="ctr"/>
            <a:r>
              <a:rPr lang="zh-CN" altLang="en-US" sz="8800" b="1" u="sng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haroni" pitchFamily="2" charset="-79"/>
                <a:cs typeface="Aharoni" pitchFamily="2" charset="-79"/>
              </a:rPr>
              <a:t>感谢聆听</a:t>
            </a:r>
            <a:endParaRPr lang="zh-CN" altLang="en-US" sz="11500" b="1" u="sng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haroni" pitchFamily="2" charset="-79"/>
              <a:cs typeface="Aharoni" pitchFamily="2" charset="-79"/>
            </a:endParaRPr>
          </a:p>
        </p:txBody>
      </p:sp>
      <p:sp>
        <p:nvSpPr>
          <p:cNvPr id="8" name="íṣḻiďé"/>
          <p:cNvSpPr>
            <a:spLocks noGrp="1"/>
          </p:cNvSpPr>
          <p:nvPr>
            <p:ph type="body" sz="quarter" idx="4294967295"/>
          </p:nvPr>
        </p:nvSpPr>
        <p:spPr>
          <a:xfrm>
            <a:off x="704850" y="5934771"/>
            <a:ext cx="2061210" cy="310871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汇报人：李林江</a:t>
            </a:r>
            <a:endParaRPr lang="en-US" altLang="zh-CN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9" name="iṣľîďe"/>
          <p:cNvSpPr>
            <a:spLocks noGrp="1"/>
          </p:cNvSpPr>
          <p:nvPr>
            <p:ph type="body" sz="quarter" idx="4294967295"/>
          </p:nvPr>
        </p:nvSpPr>
        <p:spPr>
          <a:xfrm>
            <a:off x="8721090" y="5926511"/>
            <a:ext cx="2747010" cy="296271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 algn="r">
              <a:buNone/>
            </a:pPr>
            <a:endParaRPr lang="en-US" altLang="zh-CN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9" name="文本框 3"/>
          <p:cNvSpPr txBox="1"/>
          <p:nvPr/>
        </p:nvSpPr>
        <p:spPr>
          <a:xfrm>
            <a:off x="3911600" y="3758269"/>
            <a:ext cx="4375150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zh-CN" altLang="en-US" sz="1100" dirty="0">
              <a:solidFill>
                <a:schemeClr val="accent3"/>
              </a:solidFill>
            </a:endParaRPr>
          </a:p>
          <a:p>
            <a:pPr algn="ctr"/>
            <a:endParaRPr lang="zh-CN" altLang="en-US" sz="1200" dirty="0">
              <a:solidFill>
                <a:schemeClr val="accent3"/>
              </a:solidFill>
            </a:endParaRPr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3000"/>
    </mc:Choice>
    <mc:Fallback xmlns="">
      <p:transition advTm="3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5" presetClass="entr" presetSubtype="0" dur="1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6" presetID="53" presetClass="entr" presetSubtype="16" dur="5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42" presetClass="entr" presetSubtype="0" dur="1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2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8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2" dur="50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8" grpId="0" build="p"/>
      <p:bldP spid="9" grpId="0" build="p"/>
      <p:bldP spid="19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ïšḷiḋ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ṧḻîdé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í$ḻidé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8" name="组合 7"/>
          <p:cNvGrpSpPr/>
          <p:nvPr/>
        </p:nvGrpSpPr>
        <p:grpSpPr>
          <a:xfrm rot="16200000">
            <a:off x="-1289434" y="1721098"/>
            <a:ext cx="5543967" cy="3415803"/>
            <a:chOff x="-379056" y="1311437"/>
            <a:chExt cx="6253842" cy="3853178"/>
          </a:xfrm>
        </p:grpSpPr>
        <p:sp>
          <p:nvSpPr>
            <p:cNvPr id="14" name="îs1iḍé"/>
            <p:cNvSpPr/>
            <p:nvPr userDrawn="1"/>
          </p:nvSpPr>
          <p:spPr>
            <a:xfrm rot="5772073">
              <a:off x="2102886" y="1311437"/>
              <a:ext cx="3771900" cy="3771900"/>
            </a:xfrm>
            <a:prstGeom prst="ellips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28294">
                  <a:schemeClr val="tx2">
                    <a:alpha val="45000"/>
                  </a:schemeClr>
                </a:gs>
                <a:gs pos="94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ïṧ1îḍê"/>
            <p:cNvSpPr/>
            <p:nvPr userDrawn="1"/>
          </p:nvSpPr>
          <p:spPr>
            <a:xfrm rot="17450176">
              <a:off x="-379056" y="1392715"/>
              <a:ext cx="3771900" cy="3771900"/>
            </a:xfrm>
            <a:prstGeom prst="ellips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28294">
                  <a:schemeClr val="tx2">
                    <a:alpha val="33000"/>
                  </a:schemeClr>
                </a:gs>
                <a:gs pos="94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7" name="ïŝḻídè"/>
          <p:cNvSpPr/>
          <p:nvPr userDrawn="1"/>
        </p:nvSpPr>
        <p:spPr>
          <a:xfrm rot="1422970">
            <a:off x="10362709" y="2198486"/>
            <a:ext cx="1128930" cy="1128930"/>
          </a:xfrm>
          <a:prstGeom prst="ellipse">
            <a:avLst/>
          </a:prstGeom>
          <a:gradFill>
            <a:gsLst>
              <a:gs pos="0">
                <a:schemeClr val="accent1">
                  <a:alpha val="0"/>
                </a:schemeClr>
              </a:gs>
              <a:gs pos="28294">
                <a:schemeClr val="bg2">
                  <a:alpha val="23000"/>
                </a:schemeClr>
              </a:gs>
              <a:gs pos="94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Text Placeholder 47"/>
          <p:cNvSpPr txBox="1"/>
          <p:nvPr/>
        </p:nvSpPr>
        <p:spPr>
          <a:xfrm>
            <a:off x="4554031" y="3512953"/>
            <a:ext cx="5062307" cy="159241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endParaRPr lang="en-US" sz="1800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lnSpc>
                <a:spcPct val="100000"/>
              </a:lnSpc>
            </a:pPr>
            <a:endParaRPr lang="en-US" sz="1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Text Placeholder 46"/>
          <p:cNvSpPr txBox="1"/>
          <p:nvPr/>
        </p:nvSpPr>
        <p:spPr>
          <a:xfrm>
            <a:off x="4764447" y="3228510"/>
            <a:ext cx="4330248" cy="64963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3600" dirty="0">
                <a:latin typeface="Aharoni" pitchFamily="2" charset="-79"/>
                <a:cs typeface="Aharoni" pitchFamily="2" charset="-79"/>
              </a:rPr>
              <a:t>大模型的定义及分类</a:t>
            </a:r>
            <a:endParaRPr lang="en-US" sz="3600" dirty="0">
              <a:latin typeface="Aharoni" pitchFamily="2" charset="-79"/>
              <a:cs typeface="Aharoni" pitchFamily="2" charset="-79"/>
            </a:endParaRPr>
          </a:p>
        </p:txBody>
      </p:sp>
      <p:sp>
        <p:nvSpPr>
          <p:cNvPr id="11" name="Text Placeholder 46"/>
          <p:cNvSpPr txBox="1"/>
          <p:nvPr/>
        </p:nvSpPr>
        <p:spPr>
          <a:xfrm>
            <a:off x="4764447" y="2371887"/>
            <a:ext cx="4330248" cy="64963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6000" dirty="0">
                <a:solidFill>
                  <a:schemeClr val="accent4"/>
                </a:solidFill>
              </a:rPr>
              <a:t>第一部分</a:t>
            </a:r>
            <a:endParaRPr lang="en-US" sz="6000" dirty="0">
              <a:solidFill>
                <a:schemeClr val="accent4"/>
              </a:solidFill>
            </a:endParaRPr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3000"/>
    </mc:Choice>
    <mc:Fallback xmlns="">
      <p:transition advTm="3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ur="50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2" presetID="53" presetClass="entr" presetSubtype="16" dur="5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8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 tmFilter="0,0; .5, 1; 1, 1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 tmFilter="0,0; .5, 1; 1, 1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 nodeType="afterGroup">
                            <p:stCondLst>
                              <p:cond delay="1900"/>
                            </p:stCondLst>
                            <p:childTnLst>
                              <p:par>
                                <p:cTn id="33" presetID="22" presetClass="entr" presetSubtype="4" dur="5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9" grpId="0"/>
      <p:bldP spid="10" grpId="0"/>
      <p:bldP spid="11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7" name="Group 19"/>
          <p:cNvGrpSpPr/>
          <p:nvPr/>
        </p:nvGrpSpPr>
        <p:grpSpPr>
          <a:xfrm>
            <a:off x="274303" y="223869"/>
            <a:ext cx="3654709" cy="1589151"/>
            <a:chOff x="893184" y="3324472"/>
            <a:chExt cx="3653212" cy="1590048"/>
          </a:xfrm>
        </p:grpSpPr>
        <p:sp>
          <p:nvSpPr>
            <p:cNvPr id="98" name="TextBox 97"/>
            <p:cNvSpPr txBox="1"/>
            <p:nvPr/>
          </p:nvSpPr>
          <p:spPr>
            <a:xfrm>
              <a:off x="893184" y="3324472"/>
              <a:ext cx="3155666" cy="46192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zh-CN" altLang="en-US" sz="2400" b="1" dirty="0">
                  <a:solidFill>
                    <a:schemeClr val="accent2">
                      <a:lumMod val="75000"/>
                    </a:schemeClr>
                  </a:solidFill>
                  <a:cs typeface="+mn-ea"/>
                  <a:sym typeface="+mn-lt"/>
                </a:rPr>
                <a:t>大模型的定义及分类</a:t>
              </a:r>
              <a:endParaRPr lang="en-US" sz="2400" b="1" dirty="0">
                <a:solidFill>
                  <a:schemeClr val="accent2">
                    <a:lumMod val="75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99" name="Rectangle 18"/>
            <p:cNvSpPr/>
            <p:nvPr/>
          </p:nvSpPr>
          <p:spPr>
            <a:xfrm>
              <a:off x="2155025" y="4621967"/>
              <a:ext cx="2391371" cy="292553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/>
              <a:endParaRPr lang="en-US" altLang="zh-CN" sz="1300" dirty="0"/>
            </a:p>
          </p:txBody>
        </p:sp>
      </p:grpSp>
      <p:grpSp>
        <p:nvGrpSpPr>
          <p:cNvPr id="109" name="Group 19"/>
          <p:cNvGrpSpPr/>
          <p:nvPr/>
        </p:nvGrpSpPr>
        <p:grpSpPr>
          <a:xfrm>
            <a:off x="1954720" y="1005106"/>
            <a:ext cx="8112734" cy="1323439"/>
            <a:chOff x="2330307" y="4106150"/>
            <a:chExt cx="3401487" cy="1324186"/>
          </a:xfrm>
        </p:grpSpPr>
        <p:sp>
          <p:nvSpPr>
            <p:cNvPr id="110" name="TextBox 109"/>
            <p:cNvSpPr txBox="1"/>
            <p:nvPr/>
          </p:nvSpPr>
          <p:spPr>
            <a:xfrm>
              <a:off x="3209706" y="4141643"/>
              <a:ext cx="184655" cy="461926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defRPr/>
              </a:pPr>
              <a:endParaRPr lang="en-US" sz="2400" b="1" dirty="0">
                <a:solidFill>
                  <a:schemeClr val="accent3"/>
                </a:solidFill>
                <a:cs typeface="+mn-ea"/>
                <a:sym typeface="+mn-lt"/>
              </a:endParaRPr>
            </a:p>
          </p:txBody>
        </p:sp>
        <p:sp>
          <p:nvSpPr>
            <p:cNvPr id="111" name="Rectangle 18"/>
            <p:cNvSpPr/>
            <p:nvPr/>
          </p:nvSpPr>
          <p:spPr>
            <a:xfrm>
              <a:off x="2330307" y="4106150"/>
              <a:ext cx="3401487" cy="13241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indent="720000">
                <a:defRPr/>
              </a:pPr>
              <a:r>
                <a:rPr lang="zh-CN" altLang="en-US" sz="2000" b="1" dirty="0">
                  <a:solidFill>
                    <a:srgbClr val="FF0000"/>
                  </a:solidFill>
                  <a:hlinkClick r:id="rId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大模型</a:t>
              </a:r>
              <a:r>
                <a:rPr lang="zh-CN" altLang="en-US" sz="2000" b="1" dirty="0">
                  <a:solidFill>
                    <a:schemeClr val="tx1">
                      <a:lumMod val="60000"/>
                      <a:lumOff val="40000"/>
                    </a:schemeClr>
                  </a:solidFill>
                </a:rPr>
                <a:t>是指具有大规模参数和复杂计算结构的机器学习模型。它们通过输入大量语料进行训练，使计算机获得类似人类的“思考”能力，能够理解文本、图片、语音等内容，并能进行文本生成、图像生成、推理问答、科学预测等工作。</a:t>
              </a:r>
              <a:endParaRPr lang="en-US" altLang="zh-CN" sz="2000" b="1" dirty="0">
                <a:solidFill>
                  <a:schemeClr val="tx1">
                    <a:lumMod val="60000"/>
                    <a:lumOff val="40000"/>
                  </a:schemeClr>
                </a:solidFill>
              </a:endParaRPr>
            </a:p>
          </p:txBody>
        </p:sp>
      </p:grpSp>
      <p:pic>
        <p:nvPicPr>
          <p:cNvPr id="7" name="图片 6">
            <a:extLst>
              <a:ext uri="{FF2B5EF4-FFF2-40B4-BE49-F238E27FC236}">
                <a16:creationId xmlns:a16="http://schemas.microsoft.com/office/drawing/2014/main" id="{290AF6D2-9EEB-3155-4ADD-61F7DA5DCCD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3429000"/>
            <a:ext cx="12192000" cy="2260204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3000"/>
    </mc:Choice>
    <mc:Fallback xmlns="">
      <p:transition advTm="3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šḷiḋ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ṧḻîdé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í$ḻidé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8" name="组合 7"/>
          <p:cNvGrpSpPr/>
          <p:nvPr/>
        </p:nvGrpSpPr>
        <p:grpSpPr>
          <a:xfrm rot="16200000">
            <a:off x="-1289434" y="1721098"/>
            <a:ext cx="5543967" cy="3415803"/>
            <a:chOff x="-379056" y="1311437"/>
            <a:chExt cx="6253842" cy="3853178"/>
          </a:xfrm>
        </p:grpSpPr>
        <p:sp>
          <p:nvSpPr>
            <p:cNvPr id="14" name="îs1iḍé"/>
            <p:cNvSpPr/>
            <p:nvPr userDrawn="1"/>
          </p:nvSpPr>
          <p:spPr>
            <a:xfrm rot="5772073">
              <a:off x="2102886" y="1311437"/>
              <a:ext cx="3771900" cy="3771900"/>
            </a:xfrm>
            <a:prstGeom prst="ellips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28294">
                  <a:schemeClr val="tx2">
                    <a:alpha val="45000"/>
                  </a:schemeClr>
                </a:gs>
                <a:gs pos="94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ïṧ1îḍê"/>
            <p:cNvSpPr/>
            <p:nvPr userDrawn="1"/>
          </p:nvSpPr>
          <p:spPr>
            <a:xfrm rot="17450176">
              <a:off x="-379056" y="1392715"/>
              <a:ext cx="3771900" cy="3771900"/>
            </a:xfrm>
            <a:prstGeom prst="ellips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28294">
                  <a:schemeClr val="tx2">
                    <a:alpha val="33000"/>
                  </a:schemeClr>
                </a:gs>
                <a:gs pos="94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7" name="ïŝḻídè"/>
          <p:cNvSpPr/>
          <p:nvPr userDrawn="1"/>
        </p:nvSpPr>
        <p:spPr>
          <a:xfrm rot="1422970">
            <a:off x="10362709" y="2198486"/>
            <a:ext cx="1128930" cy="1128930"/>
          </a:xfrm>
          <a:prstGeom prst="ellipse">
            <a:avLst/>
          </a:prstGeom>
          <a:gradFill>
            <a:gsLst>
              <a:gs pos="0">
                <a:schemeClr val="accent1">
                  <a:alpha val="0"/>
                </a:schemeClr>
              </a:gs>
              <a:gs pos="28294">
                <a:schemeClr val="bg2">
                  <a:alpha val="23000"/>
                </a:schemeClr>
              </a:gs>
              <a:gs pos="94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Text Placeholder 47"/>
          <p:cNvSpPr txBox="1"/>
          <p:nvPr/>
        </p:nvSpPr>
        <p:spPr>
          <a:xfrm>
            <a:off x="4554031" y="3512953"/>
            <a:ext cx="5062307" cy="159241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endParaRPr lang="en-US" sz="1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Text Placeholder 46"/>
          <p:cNvSpPr txBox="1"/>
          <p:nvPr/>
        </p:nvSpPr>
        <p:spPr>
          <a:xfrm>
            <a:off x="4764447" y="3228510"/>
            <a:ext cx="4330248" cy="64963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indent="0" defTabSz="9144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600">
                <a:latin typeface="Aharoni" pitchFamily="2" charset="-79"/>
                <a:cs typeface="Aharoni" pitchFamily="2" charset="-79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zh-CN" altLang="en-US" dirty="0"/>
              <a:t>国外前十大模型分析</a:t>
            </a:r>
            <a:endParaRPr lang="en-US" dirty="0"/>
          </a:p>
        </p:txBody>
      </p:sp>
      <p:sp>
        <p:nvSpPr>
          <p:cNvPr id="11" name="Text Placeholder 46"/>
          <p:cNvSpPr txBox="1"/>
          <p:nvPr/>
        </p:nvSpPr>
        <p:spPr>
          <a:xfrm>
            <a:off x="4764447" y="2371887"/>
            <a:ext cx="4330248" cy="64963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6000" dirty="0">
                <a:solidFill>
                  <a:schemeClr val="accent4"/>
                </a:solidFill>
              </a:rPr>
              <a:t>第二部分</a:t>
            </a:r>
            <a:endParaRPr lang="en-US" sz="6000" dirty="0">
              <a:solidFill>
                <a:schemeClr val="accent4"/>
              </a:solidFill>
            </a:endParaRPr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3000"/>
    </mc:Choice>
    <mc:Fallback xmlns="">
      <p:transition advTm="3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ur="50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2" presetID="53" presetClass="entr" presetSubtype="16" dur="5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8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 tmFilter="0,0; .5, 1; 1, 1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 tmFilter="0,0; .5, 1; 1, 1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 nodeType="afterGroup">
                            <p:stCondLst>
                              <p:cond delay="1900"/>
                            </p:stCondLst>
                            <p:childTnLst>
                              <p:par>
                                <p:cTn id="33" presetID="22" presetClass="entr" presetSubtype="4" dur="5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9" grpId="0"/>
      <p:bldP spid="10" grpId="0"/>
      <p:bldP spid="11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8"/>
          <p:cNvSpPr/>
          <p:nvPr/>
        </p:nvSpPr>
        <p:spPr>
          <a:xfrm>
            <a:off x="5732640" y="0"/>
            <a:ext cx="6459359" cy="6858000"/>
          </a:xfrm>
          <a:prstGeom prst="rect">
            <a:avLst/>
          </a:prstGeom>
          <a:gradFill>
            <a:gsLst>
              <a:gs pos="100000">
                <a:schemeClr val="tx2">
                  <a:lumMod val="60000"/>
                  <a:lumOff val="40000"/>
                </a:schemeClr>
              </a:gs>
              <a:gs pos="0">
                <a:schemeClr val="tx2">
                  <a:lumMod val="20000"/>
                  <a:lumOff val="8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9" tIns="22859" rIns="45719" bIns="22859" rtlCol="0" anchor="ctr"/>
          <a:lstStyle/>
          <a:p>
            <a:pPr algn="ctr"/>
            <a:endParaRPr lang="en-US"/>
          </a:p>
        </p:txBody>
      </p:sp>
      <p:grpSp>
        <p:nvGrpSpPr>
          <p:cNvPr id="9" name="Группа 1"/>
          <p:cNvGrpSpPr/>
          <p:nvPr/>
        </p:nvGrpSpPr>
        <p:grpSpPr>
          <a:xfrm>
            <a:off x="4901371" y="856779"/>
            <a:ext cx="9773240" cy="5561188"/>
            <a:chOff x="4703929" y="717077"/>
            <a:chExt cx="9773238" cy="5561188"/>
          </a:xfrm>
        </p:grpSpPr>
        <p:sp>
          <p:nvSpPr>
            <p:cNvPr id="11" name="Полилиния 34"/>
            <p:cNvSpPr/>
            <p:nvPr/>
          </p:nvSpPr>
          <p:spPr>
            <a:xfrm>
              <a:off x="5555970" y="717077"/>
              <a:ext cx="7984744" cy="5414294"/>
            </a:xfrm>
            <a:custGeom>
              <a:avLst/>
              <a:gdLst>
                <a:gd name="connsiteX0" fmla="*/ 593737 w 15796902"/>
                <a:gd name="connsiteY0" fmla="*/ 0 h 10799762"/>
                <a:gd name="connsiteX1" fmla="*/ 2968613 w 15796902"/>
                <a:gd name="connsiteY1" fmla="*/ 0 h 10799762"/>
                <a:gd name="connsiteX2" fmla="*/ 2968615 w 15796902"/>
                <a:gd name="connsiteY2" fmla="*/ 0 h 10799762"/>
                <a:gd name="connsiteX3" fmla="*/ 12828290 w 15796902"/>
                <a:gd name="connsiteY3" fmla="*/ 0 h 10799762"/>
                <a:gd name="connsiteX4" fmla="*/ 14287500 w 15796902"/>
                <a:gd name="connsiteY4" fmla="*/ 0 h 10799762"/>
                <a:gd name="connsiteX5" fmla="*/ 15203166 w 15796902"/>
                <a:gd name="connsiteY5" fmla="*/ 0 h 10799762"/>
                <a:gd name="connsiteX6" fmla="*/ 15796902 w 15796902"/>
                <a:gd name="connsiteY6" fmla="*/ 593737 h 10799762"/>
                <a:gd name="connsiteX7" fmla="*/ 15796902 w 15796902"/>
                <a:gd name="connsiteY7" fmla="*/ 5080012 h 10799762"/>
                <a:gd name="connsiteX8" fmla="*/ 15796902 w 15796902"/>
                <a:gd name="connsiteY8" fmla="*/ 5719750 h 10799762"/>
                <a:gd name="connsiteX9" fmla="*/ 15796902 w 15796902"/>
                <a:gd name="connsiteY9" fmla="*/ 10206025 h 10799762"/>
                <a:gd name="connsiteX10" fmla="*/ 15203166 w 15796902"/>
                <a:gd name="connsiteY10" fmla="*/ 10799762 h 10799762"/>
                <a:gd name="connsiteX11" fmla="*/ 14287500 w 15796902"/>
                <a:gd name="connsiteY11" fmla="*/ 10799762 h 10799762"/>
                <a:gd name="connsiteX12" fmla="*/ 12828290 w 15796902"/>
                <a:gd name="connsiteY12" fmla="*/ 10799762 h 10799762"/>
                <a:gd name="connsiteX13" fmla="*/ 2968613 w 15796902"/>
                <a:gd name="connsiteY13" fmla="*/ 10799762 h 10799762"/>
                <a:gd name="connsiteX14" fmla="*/ 1781175 w 15796902"/>
                <a:gd name="connsiteY14" fmla="*/ 10799762 h 10799762"/>
                <a:gd name="connsiteX15" fmla="*/ 593737 w 15796902"/>
                <a:gd name="connsiteY15" fmla="*/ 10799762 h 10799762"/>
                <a:gd name="connsiteX16" fmla="*/ 0 w 15796902"/>
                <a:gd name="connsiteY16" fmla="*/ 10206025 h 10799762"/>
                <a:gd name="connsiteX17" fmla="*/ 0 w 15796902"/>
                <a:gd name="connsiteY17" fmla="*/ 5719750 h 10799762"/>
                <a:gd name="connsiteX18" fmla="*/ 0 w 15796902"/>
                <a:gd name="connsiteY18" fmla="*/ 5080012 h 10799762"/>
                <a:gd name="connsiteX19" fmla="*/ 0 w 15796902"/>
                <a:gd name="connsiteY19" fmla="*/ 593737 h 10799762"/>
                <a:gd name="connsiteX20" fmla="*/ 593737 w 15796902"/>
                <a:gd name="connsiteY20" fmla="*/ 0 h 10799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5796902" h="10799762">
                  <a:moveTo>
                    <a:pt x="593737" y="0"/>
                  </a:moveTo>
                  <a:lnTo>
                    <a:pt x="2968613" y="0"/>
                  </a:lnTo>
                  <a:lnTo>
                    <a:pt x="2968615" y="0"/>
                  </a:lnTo>
                  <a:lnTo>
                    <a:pt x="12828290" y="0"/>
                  </a:lnTo>
                  <a:lnTo>
                    <a:pt x="14287500" y="0"/>
                  </a:lnTo>
                  <a:lnTo>
                    <a:pt x="15203166" y="0"/>
                  </a:lnTo>
                  <a:cubicBezTo>
                    <a:pt x="15531078" y="0"/>
                    <a:pt x="15796902" y="265825"/>
                    <a:pt x="15796902" y="593737"/>
                  </a:cubicBezTo>
                  <a:lnTo>
                    <a:pt x="15796902" y="5080012"/>
                  </a:lnTo>
                  <a:lnTo>
                    <a:pt x="15796902" y="5719750"/>
                  </a:lnTo>
                  <a:lnTo>
                    <a:pt x="15796902" y="10206025"/>
                  </a:lnTo>
                  <a:cubicBezTo>
                    <a:pt x="15796902" y="10533937"/>
                    <a:pt x="15531078" y="10799762"/>
                    <a:pt x="15203166" y="10799762"/>
                  </a:cubicBezTo>
                  <a:lnTo>
                    <a:pt x="14287500" y="10799762"/>
                  </a:lnTo>
                  <a:lnTo>
                    <a:pt x="12828290" y="10799762"/>
                  </a:lnTo>
                  <a:lnTo>
                    <a:pt x="2968613" y="10799762"/>
                  </a:lnTo>
                  <a:lnTo>
                    <a:pt x="1781175" y="10799762"/>
                  </a:lnTo>
                  <a:lnTo>
                    <a:pt x="593737" y="10799762"/>
                  </a:lnTo>
                  <a:cubicBezTo>
                    <a:pt x="265825" y="10799762"/>
                    <a:pt x="0" y="10533937"/>
                    <a:pt x="0" y="10206025"/>
                  </a:cubicBezTo>
                  <a:lnTo>
                    <a:pt x="0" y="5719750"/>
                  </a:lnTo>
                  <a:lnTo>
                    <a:pt x="0" y="5080012"/>
                  </a:lnTo>
                  <a:lnTo>
                    <a:pt x="0" y="593737"/>
                  </a:lnTo>
                  <a:cubicBezTo>
                    <a:pt x="0" y="265825"/>
                    <a:pt x="265825" y="0"/>
                    <a:pt x="593737" y="0"/>
                  </a:cubicBezTo>
                  <a:close/>
                </a:path>
              </a:pathLst>
            </a:custGeom>
            <a:solidFill>
              <a:srgbClr val="3838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12" name="Полилиния 36"/>
            <p:cNvSpPr/>
            <p:nvPr/>
          </p:nvSpPr>
          <p:spPr>
            <a:xfrm>
              <a:off x="4703929" y="6202089"/>
              <a:ext cx="9773238" cy="76176"/>
            </a:xfrm>
            <a:custGeom>
              <a:avLst/>
              <a:gdLst>
                <a:gd name="connsiteX0" fmla="*/ 0 w 19335232"/>
                <a:gd name="connsiteY0" fmla="*/ 0 h 333694"/>
                <a:gd name="connsiteX1" fmla="*/ 19335232 w 19335232"/>
                <a:gd name="connsiteY1" fmla="*/ 0 h 333694"/>
                <a:gd name="connsiteX2" fmla="*/ 19322694 w 19335232"/>
                <a:gd name="connsiteY2" fmla="*/ 40390 h 333694"/>
                <a:gd name="connsiteX3" fmla="*/ 18880202 w 19335232"/>
                <a:gd name="connsiteY3" fmla="*/ 333694 h 333694"/>
                <a:gd name="connsiteX4" fmla="*/ 455030 w 19335232"/>
                <a:gd name="connsiteY4" fmla="*/ 333694 h 333694"/>
                <a:gd name="connsiteX5" fmla="*/ 12538 w 19335232"/>
                <a:gd name="connsiteY5" fmla="*/ 40390 h 333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335232" h="333694">
                  <a:moveTo>
                    <a:pt x="0" y="0"/>
                  </a:moveTo>
                  <a:lnTo>
                    <a:pt x="19335232" y="0"/>
                  </a:lnTo>
                  <a:lnTo>
                    <a:pt x="19322694" y="40390"/>
                  </a:lnTo>
                  <a:cubicBezTo>
                    <a:pt x="19249792" y="212753"/>
                    <a:pt x="19079120" y="333694"/>
                    <a:pt x="18880202" y="333694"/>
                  </a:cubicBezTo>
                  <a:lnTo>
                    <a:pt x="455030" y="333694"/>
                  </a:lnTo>
                  <a:cubicBezTo>
                    <a:pt x="256112" y="333694"/>
                    <a:pt x="85441" y="212753"/>
                    <a:pt x="12538" y="40390"/>
                  </a:cubicBezTo>
                  <a:close/>
                </a:path>
              </a:pathLst>
            </a:custGeom>
            <a:gradFill flip="none" rotWithShape="1">
              <a:gsLst>
                <a:gs pos="89000">
                  <a:srgbClr val="828282"/>
                </a:gs>
                <a:gs pos="0">
                  <a:srgbClr val="C5C5C5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13" name="Прямоугольник 6"/>
            <p:cNvSpPr/>
            <p:nvPr/>
          </p:nvSpPr>
          <p:spPr>
            <a:xfrm>
              <a:off x="4703929" y="6015623"/>
              <a:ext cx="9773238" cy="186467"/>
            </a:xfrm>
            <a:prstGeom prst="rect">
              <a:avLst/>
            </a:prstGeom>
            <a:gradFill flip="none" rotWithShape="1">
              <a:gsLst>
                <a:gs pos="2000">
                  <a:srgbClr val="D5D5D5"/>
                </a:gs>
                <a:gs pos="1000">
                  <a:srgbClr val="F2F2F2"/>
                </a:gs>
                <a:gs pos="0">
                  <a:schemeClr val="tx1">
                    <a:alpha val="5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14" name="Полилиния 37"/>
            <p:cNvSpPr/>
            <p:nvPr/>
          </p:nvSpPr>
          <p:spPr>
            <a:xfrm>
              <a:off x="8891012" y="6018701"/>
              <a:ext cx="1351391" cy="106495"/>
            </a:xfrm>
            <a:custGeom>
              <a:avLst/>
              <a:gdLst>
                <a:gd name="connsiteX0" fmla="*/ 0 w 2673572"/>
                <a:gd name="connsiteY0" fmla="*/ 0 h 212424"/>
                <a:gd name="connsiteX1" fmla="*/ 2673572 w 2673572"/>
                <a:gd name="connsiteY1" fmla="*/ 0 h 212424"/>
                <a:gd name="connsiteX2" fmla="*/ 2662629 w 2673572"/>
                <a:gd name="connsiteY2" fmla="*/ 54207 h 212424"/>
                <a:gd name="connsiteX3" fmla="*/ 2423935 w 2673572"/>
                <a:gd name="connsiteY3" fmla="*/ 212424 h 212424"/>
                <a:gd name="connsiteX4" fmla="*/ 249637 w 2673572"/>
                <a:gd name="connsiteY4" fmla="*/ 212424 h 212424"/>
                <a:gd name="connsiteX5" fmla="*/ 10944 w 2673572"/>
                <a:gd name="connsiteY5" fmla="*/ 54207 h 212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73572" h="212424">
                  <a:moveTo>
                    <a:pt x="0" y="0"/>
                  </a:moveTo>
                  <a:lnTo>
                    <a:pt x="2673572" y="0"/>
                  </a:lnTo>
                  <a:lnTo>
                    <a:pt x="2662629" y="54207"/>
                  </a:lnTo>
                  <a:cubicBezTo>
                    <a:pt x="2623302" y="147185"/>
                    <a:pt x="2531237" y="212424"/>
                    <a:pt x="2423935" y="212424"/>
                  </a:cubicBezTo>
                  <a:lnTo>
                    <a:pt x="249637" y="212424"/>
                  </a:lnTo>
                  <a:cubicBezTo>
                    <a:pt x="142335" y="212424"/>
                    <a:pt x="50270" y="147185"/>
                    <a:pt x="10944" y="54207"/>
                  </a:cubicBezTo>
                  <a:close/>
                </a:path>
              </a:pathLst>
            </a:custGeom>
            <a:gradFill>
              <a:gsLst>
                <a:gs pos="88000">
                  <a:srgbClr val="F2F2F2"/>
                </a:gs>
                <a:gs pos="12000">
                  <a:srgbClr val="F2F2F2"/>
                </a:gs>
                <a:gs pos="100000">
                  <a:srgbClr val="828282"/>
                </a:gs>
                <a:gs pos="0">
                  <a:srgbClr val="828282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grpSp>
          <p:nvGrpSpPr>
            <p:cNvPr id="15" name="Группа 26"/>
            <p:cNvGrpSpPr/>
            <p:nvPr/>
          </p:nvGrpSpPr>
          <p:grpSpPr>
            <a:xfrm flipH="1">
              <a:off x="9572513" y="890239"/>
              <a:ext cx="23483" cy="22921"/>
              <a:chOff x="13422299" y="954496"/>
              <a:chExt cx="127026" cy="125005"/>
            </a:xfrm>
          </p:grpSpPr>
          <p:sp>
            <p:nvSpPr>
              <p:cNvPr id="16" name="Овал 29"/>
              <p:cNvSpPr/>
              <p:nvPr/>
            </p:nvSpPr>
            <p:spPr>
              <a:xfrm>
                <a:off x="13422302" y="954496"/>
                <a:ext cx="127023" cy="125004"/>
              </a:xfrm>
              <a:prstGeom prst="ellipse">
                <a:avLst/>
              </a:prstGeom>
              <a:solidFill>
                <a:schemeClr val="bg1"/>
              </a:solidFill>
              <a:ln w="50800"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900"/>
              </a:p>
            </p:txBody>
          </p:sp>
          <p:sp>
            <p:nvSpPr>
              <p:cNvPr id="17" name="Овал 33"/>
              <p:cNvSpPr/>
              <p:nvPr/>
            </p:nvSpPr>
            <p:spPr>
              <a:xfrm>
                <a:off x="13422299" y="954497"/>
                <a:ext cx="127026" cy="125004"/>
              </a:xfrm>
              <a:prstGeom prst="ellipse">
                <a:avLst/>
              </a:prstGeom>
              <a:solidFill>
                <a:srgbClr val="002060"/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900"/>
              </a:p>
            </p:txBody>
          </p:sp>
        </p:grpSp>
      </p:grpSp>
      <p:grpSp>
        <p:nvGrpSpPr>
          <p:cNvPr id="22" name="Group 22"/>
          <p:cNvGrpSpPr>
            <a:grpSpLocks noChangeAspect="1"/>
          </p:cNvGrpSpPr>
          <p:nvPr/>
        </p:nvGrpSpPr>
        <p:grpSpPr>
          <a:xfrm>
            <a:off x="2037053" y="5717089"/>
            <a:ext cx="312000" cy="311952"/>
            <a:chOff x="3238499" y="8277225"/>
            <a:chExt cx="666750" cy="666750"/>
          </a:xfrm>
        </p:grpSpPr>
        <p:sp>
          <p:nvSpPr>
            <p:cNvPr id="23" name="Oval 23"/>
            <p:cNvSpPr/>
            <p:nvPr/>
          </p:nvSpPr>
          <p:spPr>
            <a:xfrm>
              <a:off x="3238499" y="8277225"/>
              <a:ext cx="666750" cy="666750"/>
            </a:xfrm>
            <a:prstGeom prst="ellipse">
              <a:avLst/>
            </a:prstGeom>
            <a:solidFill>
              <a:schemeClr val="accent5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24" name="Freeform 24"/>
            <p:cNvSpPr/>
            <p:nvPr/>
          </p:nvSpPr>
          <p:spPr bwMode="auto">
            <a:xfrm>
              <a:off x="3502483" y="8426894"/>
              <a:ext cx="189583" cy="367412"/>
            </a:xfrm>
            <a:custGeom>
              <a:avLst/>
              <a:gdLst>
                <a:gd name="T0" fmla="*/ 461 w 461"/>
                <a:gd name="T1" fmla="*/ 448 h 895"/>
                <a:gd name="T2" fmla="*/ 457 w 461"/>
                <a:gd name="T3" fmla="*/ 457 h 895"/>
                <a:gd name="T4" fmla="*/ 22 w 461"/>
                <a:gd name="T5" fmla="*/ 892 h 895"/>
                <a:gd name="T6" fmla="*/ 14 w 461"/>
                <a:gd name="T7" fmla="*/ 895 h 895"/>
                <a:gd name="T8" fmla="*/ 5 w 461"/>
                <a:gd name="T9" fmla="*/ 892 h 895"/>
                <a:gd name="T10" fmla="*/ 5 w 461"/>
                <a:gd name="T11" fmla="*/ 874 h 895"/>
                <a:gd name="T12" fmla="*/ 431 w 461"/>
                <a:gd name="T13" fmla="*/ 448 h 895"/>
                <a:gd name="T14" fmla="*/ 6 w 461"/>
                <a:gd name="T15" fmla="*/ 23 h 895"/>
                <a:gd name="T16" fmla="*/ 6 w 461"/>
                <a:gd name="T17" fmla="*/ 5 h 895"/>
                <a:gd name="T18" fmla="*/ 24 w 461"/>
                <a:gd name="T19" fmla="*/ 5 h 895"/>
                <a:gd name="T20" fmla="*/ 457 w 461"/>
                <a:gd name="T21" fmla="*/ 439 h 895"/>
                <a:gd name="T22" fmla="*/ 461 w 461"/>
                <a:gd name="T23" fmla="*/ 448 h 8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1" h="895">
                  <a:moveTo>
                    <a:pt x="461" y="448"/>
                  </a:moveTo>
                  <a:cubicBezTo>
                    <a:pt x="461" y="452"/>
                    <a:pt x="460" y="454"/>
                    <a:pt x="457" y="457"/>
                  </a:cubicBezTo>
                  <a:lnTo>
                    <a:pt x="22" y="892"/>
                  </a:lnTo>
                  <a:cubicBezTo>
                    <a:pt x="20" y="894"/>
                    <a:pt x="16" y="895"/>
                    <a:pt x="14" y="895"/>
                  </a:cubicBezTo>
                  <a:cubicBezTo>
                    <a:pt x="11" y="895"/>
                    <a:pt x="7" y="894"/>
                    <a:pt x="5" y="892"/>
                  </a:cubicBezTo>
                  <a:cubicBezTo>
                    <a:pt x="0" y="887"/>
                    <a:pt x="0" y="879"/>
                    <a:pt x="5" y="874"/>
                  </a:cubicBezTo>
                  <a:lnTo>
                    <a:pt x="431" y="448"/>
                  </a:lnTo>
                  <a:lnTo>
                    <a:pt x="6" y="23"/>
                  </a:lnTo>
                  <a:cubicBezTo>
                    <a:pt x="1" y="18"/>
                    <a:pt x="1" y="10"/>
                    <a:pt x="6" y="5"/>
                  </a:cubicBezTo>
                  <a:cubicBezTo>
                    <a:pt x="11" y="0"/>
                    <a:pt x="19" y="0"/>
                    <a:pt x="24" y="5"/>
                  </a:cubicBezTo>
                  <a:lnTo>
                    <a:pt x="457" y="439"/>
                  </a:lnTo>
                  <a:cubicBezTo>
                    <a:pt x="460" y="442"/>
                    <a:pt x="461" y="444"/>
                    <a:pt x="461" y="448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</a:ln>
          </p:spPr>
          <p:txBody>
            <a:bodyPr vert="horz" wrap="square" lIns="137160" tIns="68580" rIns="137160" bIns="68580" numCol="1" anchor="t" anchorCtr="0" compatLnSpc="1"/>
            <a:lstStyle/>
            <a:p>
              <a:endParaRPr lang="en-US" sz="2700"/>
            </a:p>
          </p:txBody>
        </p:sp>
      </p:grpSp>
      <p:sp>
        <p:nvSpPr>
          <p:cNvPr id="26" name="PA_TextPlaceholder 1"/>
          <p:cNvSpPr txBox="1"/>
          <p:nvPr>
            <p:custDataLst>
              <p:tags r:id="rId1"/>
            </p:custDataLst>
          </p:nvPr>
        </p:nvSpPr>
        <p:spPr>
          <a:xfrm>
            <a:off x="1216357" y="2871458"/>
            <a:ext cx="4051121" cy="2457579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优点：</a:t>
            </a:r>
            <a:endParaRPr lang="en-US" altLang="zh-CN" sz="1400" dirty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多模态支持最佳、插件生态成熟、企业级</a:t>
            </a: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API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服务</a:t>
            </a:r>
            <a:endParaRPr lang="en-US" altLang="zh-CN" sz="1400" dirty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buNone/>
            </a:pPr>
            <a:endParaRPr lang="en-US" altLang="zh-CN" sz="1400" dirty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缺点：</a:t>
            </a:r>
            <a:endParaRPr lang="en-US" altLang="zh-CN" sz="1400" dirty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生成成本极高（</a:t>
            </a: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$0.12/1k tokens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）、闭源模型</a:t>
            </a:r>
            <a:endParaRPr lang="en-US" sz="14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27" name="PA_TextPlaceholder 2"/>
          <p:cNvSpPr txBox="1"/>
          <p:nvPr>
            <p:custDataLst>
              <p:tags r:id="rId2"/>
            </p:custDataLst>
          </p:nvPr>
        </p:nvSpPr>
        <p:spPr>
          <a:xfrm>
            <a:off x="1584976" y="1597191"/>
            <a:ext cx="4051121" cy="1503831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3600" b="1" i="0" dirty="0">
                <a:solidFill>
                  <a:srgbClr val="404040"/>
                </a:solidFill>
                <a:effectLst/>
                <a:latin typeface="Inter"/>
              </a:rPr>
              <a:t>GPT-4.5</a:t>
            </a:r>
            <a:endParaRPr lang="en-US" sz="5300" b="1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BA89781C-5F1A-626C-D73E-063E00D1844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06468" y="1517169"/>
            <a:ext cx="7860145" cy="412554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3000"/>
    </mc:Choice>
    <mc:Fallback xmlns="">
      <p:transition advTm="3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ur="500" decel="5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E28932-DD28-10F6-21AE-C82A01FA63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8">
            <a:extLst>
              <a:ext uri="{FF2B5EF4-FFF2-40B4-BE49-F238E27FC236}">
                <a16:creationId xmlns:a16="http://schemas.microsoft.com/office/drawing/2014/main" id="{C36A77F0-2A5C-793D-9C61-DC5EFF88780C}"/>
              </a:ext>
            </a:extLst>
          </p:cNvPr>
          <p:cNvSpPr/>
          <p:nvPr/>
        </p:nvSpPr>
        <p:spPr>
          <a:xfrm>
            <a:off x="5732640" y="0"/>
            <a:ext cx="6459359" cy="6858000"/>
          </a:xfrm>
          <a:prstGeom prst="rect">
            <a:avLst/>
          </a:prstGeom>
          <a:gradFill>
            <a:gsLst>
              <a:gs pos="100000">
                <a:schemeClr val="tx2">
                  <a:lumMod val="60000"/>
                  <a:lumOff val="40000"/>
                </a:schemeClr>
              </a:gs>
              <a:gs pos="0">
                <a:schemeClr val="tx2">
                  <a:lumMod val="20000"/>
                  <a:lumOff val="8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9" tIns="22859" rIns="45719" bIns="22859" rtlCol="0" anchor="ctr"/>
          <a:lstStyle/>
          <a:p>
            <a:pPr algn="ctr"/>
            <a:endParaRPr lang="en-US"/>
          </a:p>
        </p:txBody>
      </p:sp>
      <p:grpSp>
        <p:nvGrpSpPr>
          <p:cNvPr id="9" name="Группа 1">
            <a:extLst>
              <a:ext uri="{FF2B5EF4-FFF2-40B4-BE49-F238E27FC236}">
                <a16:creationId xmlns:a16="http://schemas.microsoft.com/office/drawing/2014/main" id="{4DDF1AB1-FA7B-B1F5-2EEA-626701F6151E}"/>
              </a:ext>
            </a:extLst>
          </p:cNvPr>
          <p:cNvGrpSpPr/>
          <p:nvPr/>
        </p:nvGrpSpPr>
        <p:grpSpPr>
          <a:xfrm>
            <a:off x="4901371" y="856779"/>
            <a:ext cx="9773240" cy="5561188"/>
            <a:chOff x="4703929" y="717077"/>
            <a:chExt cx="9773238" cy="5561188"/>
          </a:xfrm>
        </p:grpSpPr>
        <p:sp>
          <p:nvSpPr>
            <p:cNvPr id="11" name="Полилиния 34">
              <a:extLst>
                <a:ext uri="{FF2B5EF4-FFF2-40B4-BE49-F238E27FC236}">
                  <a16:creationId xmlns:a16="http://schemas.microsoft.com/office/drawing/2014/main" id="{6292A955-0D64-18BA-3CAD-4E3DFC87F665}"/>
                </a:ext>
              </a:extLst>
            </p:cNvPr>
            <p:cNvSpPr/>
            <p:nvPr/>
          </p:nvSpPr>
          <p:spPr>
            <a:xfrm>
              <a:off x="5555970" y="717077"/>
              <a:ext cx="7984744" cy="5414294"/>
            </a:xfrm>
            <a:custGeom>
              <a:avLst/>
              <a:gdLst>
                <a:gd name="connsiteX0" fmla="*/ 593737 w 15796902"/>
                <a:gd name="connsiteY0" fmla="*/ 0 h 10799762"/>
                <a:gd name="connsiteX1" fmla="*/ 2968613 w 15796902"/>
                <a:gd name="connsiteY1" fmla="*/ 0 h 10799762"/>
                <a:gd name="connsiteX2" fmla="*/ 2968615 w 15796902"/>
                <a:gd name="connsiteY2" fmla="*/ 0 h 10799762"/>
                <a:gd name="connsiteX3" fmla="*/ 12828290 w 15796902"/>
                <a:gd name="connsiteY3" fmla="*/ 0 h 10799762"/>
                <a:gd name="connsiteX4" fmla="*/ 14287500 w 15796902"/>
                <a:gd name="connsiteY4" fmla="*/ 0 h 10799762"/>
                <a:gd name="connsiteX5" fmla="*/ 15203166 w 15796902"/>
                <a:gd name="connsiteY5" fmla="*/ 0 h 10799762"/>
                <a:gd name="connsiteX6" fmla="*/ 15796902 w 15796902"/>
                <a:gd name="connsiteY6" fmla="*/ 593737 h 10799762"/>
                <a:gd name="connsiteX7" fmla="*/ 15796902 w 15796902"/>
                <a:gd name="connsiteY7" fmla="*/ 5080012 h 10799762"/>
                <a:gd name="connsiteX8" fmla="*/ 15796902 w 15796902"/>
                <a:gd name="connsiteY8" fmla="*/ 5719750 h 10799762"/>
                <a:gd name="connsiteX9" fmla="*/ 15796902 w 15796902"/>
                <a:gd name="connsiteY9" fmla="*/ 10206025 h 10799762"/>
                <a:gd name="connsiteX10" fmla="*/ 15203166 w 15796902"/>
                <a:gd name="connsiteY10" fmla="*/ 10799762 h 10799762"/>
                <a:gd name="connsiteX11" fmla="*/ 14287500 w 15796902"/>
                <a:gd name="connsiteY11" fmla="*/ 10799762 h 10799762"/>
                <a:gd name="connsiteX12" fmla="*/ 12828290 w 15796902"/>
                <a:gd name="connsiteY12" fmla="*/ 10799762 h 10799762"/>
                <a:gd name="connsiteX13" fmla="*/ 2968613 w 15796902"/>
                <a:gd name="connsiteY13" fmla="*/ 10799762 h 10799762"/>
                <a:gd name="connsiteX14" fmla="*/ 1781175 w 15796902"/>
                <a:gd name="connsiteY14" fmla="*/ 10799762 h 10799762"/>
                <a:gd name="connsiteX15" fmla="*/ 593737 w 15796902"/>
                <a:gd name="connsiteY15" fmla="*/ 10799762 h 10799762"/>
                <a:gd name="connsiteX16" fmla="*/ 0 w 15796902"/>
                <a:gd name="connsiteY16" fmla="*/ 10206025 h 10799762"/>
                <a:gd name="connsiteX17" fmla="*/ 0 w 15796902"/>
                <a:gd name="connsiteY17" fmla="*/ 5719750 h 10799762"/>
                <a:gd name="connsiteX18" fmla="*/ 0 w 15796902"/>
                <a:gd name="connsiteY18" fmla="*/ 5080012 h 10799762"/>
                <a:gd name="connsiteX19" fmla="*/ 0 w 15796902"/>
                <a:gd name="connsiteY19" fmla="*/ 593737 h 10799762"/>
                <a:gd name="connsiteX20" fmla="*/ 593737 w 15796902"/>
                <a:gd name="connsiteY20" fmla="*/ 0 h 10799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5796902" h="10799762">
                  <a:moveTo>
                    <a:pt x="593737" y="0"/>
                  </a:moveTo>
                  <a:lnTo>
                    <a:pt x="2968613" y="0"/>
                  </a:lnTo>
                  <a:lnTo>
                    <a:pt x="2968615" y="0"/>
                  </a:lnTo>
                  <a:lnTo>
                    <a:pt x="12828290" y="0"/>
                  </a:lnTo>
                  <a:lnTo>
                    <a:pt x="14287500" y="0"/>
                  </a:lnTo>
                  <a:lnTo>
                    <a:pt x="15203166" y="0"/>
                  </a:lnTo>
                  <a:cubicBezTo>
                    <a:pt x="15531078" y="0"/>
                    <a:pt x="15796902" y="265825"/>
                    <a:pt x="15796902" y="593737"/>
                  </a:cubicBezTo>
                  <a:lnTo>
                    <a:pt x="15796902" y="5080012"/>
                  </a:lnTo>
                  <a:lnTo>
                    <a:pt x="15796902" y="5719750"/>
                  </a:lnTo>
                  <a:lnTo>
                    <a:pt x="15796902" y="10206025"/>
                  </a:lnTo>
                  <a:cubicBezTo>
                    <a:pt x="15796902" y="10533937"/>
                    <a:pt x="15531078" y="10799762"/>
                    <a:pt x="15203166" y="10799762"/>
                  </a:cubicBezTo>
                  <a:lnTo>
                    <a:pt x="14287500" y="10799762"/>
                  </a:lnTo>
                  <a:lnTo>
                    <a:pt x="12828290" y="10799762"/>
                  </a:lnTo>
                  <a:lnTo>
                    <a:pt x="2968613" y="10799762"/>
                  </a:lnTo>
                  <a:lnTo>
                    <a:pt x="1781175" y="10799762"/>
                  </a:lnTo>
                  <a:lnTo>
                    <a:pt x="593737" y="10799762"/>
                  </a:lnTo>
                  <a:cubicBezTo>
                    <a:pt x="265825" y="10799762"/>
                    <a:pt x="0" y="10533937"/>
                    <a:pt x="0" y="10206025"/>
                  </a:cubicBezTo>
                  <a:lnTo>
                    <a:pt x="0" y="5719750"/>
                  </a:lnTo>
                  <a:lnTo>
                    <a:pt x="0" y="5080012"/>
                  </a:lnTo>
                  <a:lnTo>
                    <a:pt x="0" y="593737"/>
                  </a:lnTo>
                  <a:cubicBezTo>
                    <a:pt x="0" y="265825"/>
                    <a:pt x="265825" y="0"/>
                    <a:pt x="593737" y="0"/>
                  </a:cubicBezTo>
                  <a:close/>
                </a:path>
              </a:pathLst>
            </a:custGeom>
            <a:solidFill>
              <a:srgbClr val="3838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12" name="Полилиния 36">
              <a:extLst>
                <a:ext uri="{FF2B5EF4-FFF2-40B4-BE49-F238E27FC236}">
                  <a16:creationId xmlns:a16="http://schemas.microsoft.com/office/drawing/2014/main" id="{1B241B44-A514-E2C4-D9BB-25B28BC9141B}"/>
                </a:ext>
              </a:extLst>
            </p:cNvPr>
            <p:cNvSpPr/>
            <p:nvPr/>
          </p:nvSpPr>
          <p:spPr>
            <a:xfrm>
              <a:off x="4703929" y="6202089"/>
              <a:ext cx="9773238" cy="76176"/>
            </a:xfrm>
            <a:custGeom>
              <a:avLst/>
              <a:gdLst>
                <a:gd name="connsiteX0" fmla="*/ 0 w 19335232"/>
                <a:gd name="connsiteY0" fmla="*/ 0 h 333694"/>
                <a:gd name="connsiteX1" fmla="*/ 19335232 w 19335232"/>
                <a:gd name="connsiteY1" fmla="*/ 0 h 333694"/>
                <a:gd name="connsiteX2" fmla="*/ 19322694 w 19335232"/>
                <a:gd name="connsiteY2" fmla="*/ 40390 h 333694"/>
                <a:gd name="connsiteX3" fmla="*/ 18880202 w 19335232"/>
                <a:gd name="connsiteY3" fmla="*/ 333694 h 333694"/>
                <a:gd name="connsiteX4" fmla="*/ 455030 w 19335232"/>
                <a:gd name="connsiteY4" fmla="*/ 333694 h 333694"/>
                <a:gd name="connsiteX5" fmla="*/ 12538 w 19335232"/>
                <a:gd name="connsiteY5" fmla="*/ 40390 h 333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335232" h="333694">
                  <a:moveTo>
                    <a:pt x="0" y="0"/>
                  </a:moveTo>
                  <a:lnTo>
                    <a:pt x="19335232" y="0"/>
                  </a:lnTo>
                  <a:lnTo>
                    <a:pt x="19322694" y="40390"/>
                  </a:lnTo>
                  <a:cubicBezTo>
                    <a:pt x="19249792" y="212753"/>
                    <a:pt x="19079120" y="333694"/>
                    <a:pt x="18880202" y="333694"/>
                  </a:cubicBezTo>
                  <a:lnTo>
                    <a:pt x="455030" y="333694"/>
                  </a:lnTo>
                  <a:cubicBezTo>
                    <a:pt x="256112" y="333694"/>
                    <a:pt x="85441" y="212753"/>
                    <a:pt x="12538" y="40390"/>
                  </a:cubicBezTo>
                  <a:close/>
                </a:path>
              </a:pathLst>
            </a:custGeom>
            <a:gradFill flip="none" rotWithShape="1">
              <a:gsLst>
                <a:gs pos="89000">
                  <a:srgbClr val="828282"/>
                </a:gs>
                <a:gs pos="0">
                  <a:srgbClr val="C5C5C5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13" name="Прямоугольник 6">
              <a:extLst>
                <a:ext uri="{FF2B5EF4-FFF2-40B4-BE49-F238E27FC236}">
                  <a16:creationId xmlns:a16="http://schemas.microsoft.com/office/drawing/2014/main" id="{10448348-6D82-DB6F-A56D-FF952FF2234C}"/>
                </a:ext>
              </a:extLst>
            </p:cNvPr>
            <p:cNvSpPr/>
            <p:nvPr/>
          </p:nvSpPr>
          <p:spPr>
            <a:xfrm>
              <a:off x="4703929" y="6015623"/>
              <a:ext cx="9773238" cy="186467"/>
            </a:xfrm>
            <a:prstGeom prst="rect">
              <a:avLst/>
            </a:prstGeom>
            <a:gradFill flip="none" rotWithShape="1">
              <a:gsLst>
                <a:gs pos="2000">
                  <a:srgbClr val="D5D5D5"/>
                </a:gs>
                <a:gs pos="1000">
                  <a:srgbClr val="F2F2F2"/>
                </a:gs>
                <a:gs pos="0">
                  <a:schemeClr val="tx1">
                    <a:alpha val="5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14" name="Полилиния 37">
              <a:extLst>
                <a:ext uri="{FF2B5EF4-FFF2-40B4-BE49-F238E27FC236}">
                  <a16:creationId xmlns:a16="http://schemas.microsoft.com/office/drawing/2014/main" id="{4716E1DF-F15E-8D6F-C9F5-CF5675A14366}"/>
                </a:ext>
              </a:extLst>
            </p:cNvPr>
            <p:cNvSpPr/>
            <p:nvPr/>
          </p:nvSpPr>
          <p:spPr>
            <a:xfrm>
              <a:off x="8891012" y="6018701"/>
              <a:ext cx="1351391" cy="106495"/>
            </a:xfrm>
            <a:custGeom>
              <a:avLst/>
              <a:gdLst>
                <a:gd name="connsiteX0" fmla="*/ 0 w 2673572"/>
                <a:gd name="connsiteY0" fmla="*/ 0 h 212424"/>
                <a:gd name="connsiteX1" fmla="*/ 2673572 w 2673572"/>
                <a:gd name="connsiteY1" fmla="*/ 0 h 212424"/>
                <a:gd name="connsiteX2" fmla="*/ 2662629 w 2673572"/>
                <a:gd name="connsiteY2" fmla="*/ 54207 h 212424"/>
                <a:gd name="connsiteX3" fmla="*/ 2423935 w 2673572"/>
                <a:gd name="connsiteY3" fmla="*/ 212424 h 212424"/>
                <a:gd name="connsiteX4" fmla="*/ 249637 w 2673572"/>
                <a:gd name="connsiteY4" fmla="*/ 212424 h 212424"/>
                <a:gd name="connsiteX5" fmla="*/ 10944 w 2673572"/>
                <a:gd name="connsiteY5" fmla="*/ 54207 h 212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73572" h="212424">
                  <a:moveTo>
                    <a:pt x="0" y="0"/>
                  </a:moveTo>
                  <a:lnTo>
                    <a:pt x="2673572" y="0"/>
                  </a:lnTo>
                  <a:lnTo>
                    <a:pt x="2662629" y="54207"/>
                  </a:lnTo>
                  <a:cubicBezTo>
                    <a:pt x="2623302" y="147185"/>
                    <a:pt x="2531237" y="212424"/>
                    <a:pt x="2423935" y="212424"/>
                  </a:cubicBezTo>
                  <a:lnTo>
                    <a:pt x="249637" y="212424"/>
                  </a:lnTo>
                  <a:cubicBezTo>
                    <a:pt x="142335" y="212424"/>
                    <a:pt x="50270" y="147185"/>
                    <a:pt x="10944" y="54207"/>
                  </a:cubicBezTo>
                  <a:close/>
                </a:path>
              </a:pathLst>
            </a:custGeom>
            <a:gradFill>
              <a:gsLst>
                <a:gs pos="88000">
                  <a:srgbClr val="F2F2F2"/>
                </a:gs>
                <a:gs pos="12000">
                  <a:srgbClr val="F2F2F2"/>
                </a:gs>
                <a:gs pos="100000">
                  <a:srgbClr val="828282"/>
                </a:gs>
                <a:gs pos="0">
                  <a:srgbClr val="828282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grpSp>
          <p:nvGrpSpPr>
            <p:cNvPr id="15" name="Группа 26">
              <a:extLst>
                <a:ext uri="{FF2B5EF4-FFF2-40B4-BE49-F238E27FC236}">
                  <a16:creationId xmlns:a16="http://schemas.microsoft.com/office/drawing/2014/main" id="{C1A82DF1-3B98-4BA3-F75A-D7D42FC1302D}"/>
                </a:ext>
              </a:extLst>
            </p:cNvPr>
            <p:cNvGrpSpPr/>
            <p:nvPr/>
          </p:nvGrpSpPr>
          <p:grpSpPr>
            <a:xfrm flipH="1">
              <a:off x="9572513" y="890239"/>
              <a:ext cx="23483" cy="22921"/>
              <a:chOff x="13422299" y="954496"/>
              <a:chExt cx="127026" cy="125005"/>
            </a:xfrm>
          </p:grpSpPr>
          <p:sp>
            <p:nvSpPr>
              <p:cNvPr id="16" name="Овал 29">
                <a:extLst>
                  <a:ext uri="{FF2B5EF4-FFF2-40B4-BE49-F238E27FC236}">
                    <a16:creationId xmlns:a16="http://schemas.microsoft.com/office/drawing/2014/main" id="{F4C1E208-5578-7913-B8F7-2858A33D0ECF}"/>
                  </a:ext>
                </a:extLst>
              </p:cNvPr>
              <p:cNvSpPr/>
              <p:nvPr/>
            </p:nvSpPr>
            <p:spPr>
              <a:xfrm>
                <a:off x="13422302" y="954496"/>
                <a:ext cx="127023" cy="125004"/>
              </a:xfrm>
              <a:prstGeom prst="ellipse">
                <a:avLst/>
              </a:prstGeom>
              <a:solidFill>
                <a:schemeClr val="bg1"/>
              </a:solidFill>
              <a:ln w="50800"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900"/>
              </a:p>
            </p:txBody>
          </p:sp>
          <p:sp>
            <p:nvSpPr>
              <p:cNvPr id="17" name="Овал 33">
                <a:extLst>
                  <a:ext uri="{FF2B5EF4-FFF2-40B4-BE49-F238E27FC236}">
                    <a16:creationId xmlns:a16="http://schemas.microsoft.com/office/drawing/2014/main" id="{6E01747A-47D4-E855-02DC-D27BC9BC58B2}"/>
                  </a:ext>
                </a:extLst>
              </p:cNvPr>
              <p:cNvSpPr/>
              <p:nvPr/>
            </p:nvSpPr>
            <p:spPr>
              <a:xfrm>
                <a:off x="13422299" y="954497"/>
                <a:ext cx="127026" cy="125004"/>
              </a:xfrm>
              <a:prstGeom prst="ellipse">
                <a:avLst/>
              </a:prstGeom>
              <a:solidFill>
                <a:srgbClr val="002060"/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900"/>
              </a:p>
            </p:txBody>
          </p:sp>
        </p:grpSp>
      </p:grpSp>
      <p:grpSp>
        <p:nvGrpSpPr>
          <p:cNvPr id="22" name="Group 22">
            <a:extLst>
              <a:ext uri="{FF2B5EF4-FFF2-40B4-BE49-F238E27FC236}">
                <a16:creationId xmlns:a16="http://schemas.microsoft.com/office/drawing/2014/main" id="{D1BF75DB-39B9-E246-C3DA-696F3E56C74C}"/>
              </a:ext>
            </a:extLst>
          </p:cNvPr>
          <p:cNvGrpSpPr>
            <a:grpSpLocks noChangeAspect="1"/>
          </p:cNvGrpSpPr>
          <p:nvPr/>
        </p:nvGrpSpPr>
        <p:grpSpPr>
          <a:xfrm>
            <a:off x="2037053" y="5717089"/>
            <a:ext cx="312000" cy="311952"/>
            <a:chOff x="3238499" y="8277225"/>
            <a:chExt cx="666750" cy="666750"/>
          </a:xfrm>
        </p:grpSpPr>
        <p:sp>
          <p:nvSpPr>
            <p:cNvPr id="23" name="Oval 23">
              <a:extLst>
                <a:ext uri="{FF2B5EF4-FFF2-40B4-BE49-F238E27FC236}">
                  <a16:creationId xmlns:a16="http://schemas.microsoft.com/office/drawing/2014/main" id="{F9548FEB-19B0-A5CF-BAF5-037A1ADFF338}"/>
                </a:ext>
              </a:extLst>
            </p:cNvPr>
            <p:cNvSpPr/>
            <p:nvPr/>
          </p:nvSpPr>
          <p:spPr>
            <a:xfrm>
              <a:off x="3238499" y="8277225"/>
              <a:ext cx="666750" cy="666750"/>
            </a:xfrm>
            <a:prstGeom prst="ellipse">
              <a:avLst/>
            </a:prstGeom>
            <a:solidFill>
              <a:schemeClr val="accent5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24" name="Freeform 24">
              <a:extLst>
                <a:ext uri="{FF2B5EF4-FFF2-40B4-BE49-F238E27FC236}">
                  <a16:creationId xmlns:a16="http://schemas.microsoft.com/office/drawing/2014/main" id="{135A9B9E-CD9B-FECE-651D-1C2ADDF2D537}"/>
                </a:ext>
              </a:extLst>
            </p:cNvPr>
            <p:cNvSpPr/>
            <p:nvPr/>
          </p:nvSpPr>
          <p:spPr bwMode="auto">
            <a:xfrm>
              <a:off x="3502483" y="8426894"/>
              <a:ext cx="189583" cy="367412"/>
            </a:xfrm>
            <a:custGeom>
              <a:avLst/>
              <a:gdLst>
                <a:gd name="T0" fmla="*/ 461 w 461"/>
                <a:gd name="T1" fmla="*/ 448 h 895"/>
                <a:gd name="T2" fmla="*/ 457 w 461"/>
                <a:gd name="T3" fmla="*/ 457 h 895"/>
                <a:gd name="T4" fmla="*/ 22 w 461"/>
                <a:gd name="T5" fmla="*/ 892 h 895"/>
                <a:gd name="T6" fmla="*/ 14 w 461"/>
                <a:gd name="T7" fmla="*/ 895 h 895"/>
                <a:gd name="T8" fmla="*/ 5 w 461"/>
                <a:gd name="T9" fmla="*/ 892 h 895"/>
                <a:gd name="T10" fmla="*/ 5 w 461"/>
                <a:gd name="T11" fmla="*/ 874 h 895"/>
                <a:gd name="T12" fmla="*/ 431 w 461"/>
                <a:gd name="T13" fmla="*/ 448 h 895"/>
                <a:gd name="T14" fmla="*/ 6 w 461"/>
                <a:gd name="T15" fmla="*/ 23 h 895"/>
                <a:gd name="T16" fmla="*/ 6 w 461"/>
                <a:gd name="T17" fmla="*/ 5 h 895"/>
                <a:gd name="T18" fmla="*/ 24 w 461"/>
                <a:gd name="T19" fmla="*/ 5 h 895"/>
                <a:gd name="T20" fmla="*/ 457 w 461"/>
                <a:gd name="T21" fmla="*/ 439 h 895"/>
                <a:gd name="T22" fmla="*/ 461 w 461"/>
                <a:gd name="T23" fmla="*/ 448 h 8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1" h="895">
                  <a:moveTo>
                    <a:pt x="461" y="448"/>
                  </a:moveTo>
                  <a:cubicBezTo>
                    <a:pt x="461" y="452"/>
                    <a:pt x="460" y="454"/>
                    <a:pt x="457" y="457"/>
                  </a:cubicBezTo>
                  <a:lnTo>
                    <a:pt x="22" y="892"/>
                  </a:lnTo>
                  <a:cubicBezTo>
                    <a:pt x="20" y="894"/>
                    <a:pt x="16" y="895"/>
                    <a:pt x="14" y="895"/>
                  </a:cubicBezTo>
                  <a:cubicBezTo>
                    <a:pt x="11" y="895"/>
                    <a:pt x="7" y="894"/>
                    <a:pt x="5" y="892"/>
                  </a:cubicBezTo>
                  <a:cubicBezTo>
                    <a:pt x="0" y="887"/>
                    <a:pt x="0" y="879"/>
                    <a:pt x="5" y="874"/>
                  </a:cubicBezTo>
                  <a:lnTo>
                    <a:pt x="431" y="448"/>
                  </a:lnTo>
                  <a:lnTo>
                    <a:pt x="6" y="23"/>
                  </a:lnTo>
                  <a:cubicBezTo>
                    <a:pt x="1" y="18"/>
                    <a:pt x="1" y="10"/>
                    <a:pt x="6" y="5"/>
                  </a:cubicBezTo>
                  <a:cubicBezTo>
                    <a:pt x="11" y="0"/>
                    <a:pt x="19" y="0"/>
                    <a:pt x="24" y="5"/>
                  </a:cubicBezTo>
                  <a:lnTo>
                    <a:pt x="457" y="439"/>
                  </a:lnTo>
                  <a:cubicBezTo>
                    <a:pt x="460" y="442"/>
                    <a:pt x="461" y="444"/>
                    <a:pt x="461" y="448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</a:ln>
          </p:spPr>
          <p:txBody>
            <a:bodyPr vert="horz" wrap="square" lIns="137160" tIns="68580" rIns="137160" bIns="68580" numCol="1" anchor="t" anchorCtr="0" compatLnSpc="1"/>
            <a:lstStyle/>
            <a:p>
              <a:endParaRPr lang="en-US" sz="2700"/>
            </a:p>
          </p:txBody>
        </p:sp>
      </p:grpSp>
      <p:sp>
        <p:nvSpPr>
          <p:cNvPr id="26" name="PA_TextPlaceholder 1">
            <a:extLst>
              <a:ext uri="{FF2B5EF4-FFF2-40B4-BE49-F238E27FC236}">
                <a16:creationId xmlns:a16="http://schemas.microsoft.com/office/drawing/2014/main" id="{DF3B6760-EB1E-627E-E8ED-48628BB97C1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056260" y="2642705"/>
            <a:ext cx="4051121" cy="2457579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优点：</a:t>
            </a:r>
            <a:endParaRPr lang="en-US" altLang="zh-CN" sz="1400" dirty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10M token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上下文（行业最长）、实时多模态交互可以实时接收文字、语音、图像、视频信息并进行推理反馈</a:t>
            </a:r>
            <a:endParaRPr lang="en-US" altLang="zh-CN" sz="1400" dirty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buNone/>
            </a:pPr>
            <a:endParaRPr lang="en-US" altLang="zh-CN" sz="1400" dirty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缺点：</a:t>
            </a:r>
            <a:endParaRPr lang="en-US" altLang="zh-CN" sz="1400" dirty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视频生成存在较高延迟，可能不适合实时互动场景；</a:t>
            </a:r>
            <a:b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中文</a:t>
            </a: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OCR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准确率相比国内竞品仍有较大提升空间，影响中文文档或视频内文字信息的处理</a:t>
            </a:r>
            <a:endParaRPr lang="en-US" sz="14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27" name="PA_TextPlaceholder 2">
            <a:extLst>
              <a:ext uri="{FF2B5EF4-FFF2-40B4-BE49-F238E27FC236}">
                <a16:creationId xmlns:a16="http://schemas.microsoft.com/office/drawing/2014/main" id="{3239CBFF-763C-1868-CD01-257ECE1987D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249296" y="1634136"/>
            <a:ext cx="1665051" cy="638009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3600" b="1" i="0" dirty="0">
                <a:solidFill>
                  <a:srgbClr val="404040"/>
                </a:solidFill>
                <a:effectLst/>
                <a:latin typeface="Inter"/>
              </a:rPr>
              <a:t>Gemini </a:t>
            </a:r>
            <a:endParaRPr lang="en-US" sz="5300" b="1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CA07F7E0-B522-3327-A284-BDF7C59F974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46733" y="1488629"/>
            <a:ext cx="7669928" cy="4034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3686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3000"/>
    </mc:Choice>
    <mc:Fallback xmlns="">
      <p:transition advTm="3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ur="500" decel="5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56390A-D880-051E-61C0-EEBA9F8289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8">
            <a:extLst>
              <a:ext uri="{FF2B5EF4-FFF2-40B4-BE49-F238E27FC236}">
                <a16:creationId xmlns:a16="http://schemas.microsoft.com/office/drawing/2014/main" id="{7BDE5A5B-C1C4-E0E7-D2E9-760D4D74B5F9}"/>
              </a:ext>
            </a:extLst>
          </p:cNvPr>
          <p:cNvSpPr/>
          <p:nvPr/>
        </p:nvSpPr>
        <p:spPr>
          <a:xfrm>
            <a:off x="5732640" y="0"/>
            <a:ext cx="6459359" cy="6858000"/>
          </a:xfrm>
          <a:prstGeom prst="rect">
            <a:avLst/>
          </a:prstGeom>
          <a:gradFill>
            <a:gsLst>
              <a:gs pos="100000">
                <a:schemeClr val="tx2">
                  <a:lumMod val="60000"/>
                  <a:lumOff val="40000"/>
                </a:schemeClr>
              </a:gs>
              <a:gs pos="0">
                <a:schemeClr val="tx2">
                  <a:lumMod val="20000"/>
                  <a:lumOff val="8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9" tIns="22859" rIns="45719" bIns="22859" rtlCol="0" anchor="ctr"/>
          <a:lstStyle/>
          <a:p>
            <a:pPr algn="ctr"/>
            <a:endParaRPr lang="en-US"/>
          </a:p>
        </p:txBody>
      </p:sp>
      <p:grpSp>
        <p:nvGrpSpPr>
          <p:cNvPr id="9" name="Группа 1">
            <a:extLst>
              <a:ext uri="{FF2B5EF4-FFF2-40B4-BE49-F238E27FC236}">
                <a16:creationId xmlns:a16="http://schemas.microsoft.com/office/drawing/2014/main" id="{C84DF1B6-4EC8-B1E7-C93B-BDDC8F18772E}"/>
              </a:ext>
            </a:extLst>
          </p:cNvPr>
          <p:cNvGrpSpPr/>
          <p:nvPr/>
        </p:nvGrpSpPr>
        <p:grpSpPr>
          <a:xfrm>
            <a:off x="4901371" y="856779"/>
            <a:ext cx="9773240" cy="5561188"/>
            <a:chOff x="4703929" y="717077"/>
            <a:chExt cx="9773238" cy="5561188"/>
          </a:xfrm>
        </p:grpSpPr>
        <p:sp>
          <p:nvSpPr>
            <p:cNvPr id="11" name="Полилиния 34">
              <a:extLst>
                <a:ext uri="{FF2B5EF4-FFF2-40B4-BE49-F238E27FC236}">
                  <a16:creationId xmlns:a16="http://schemas.microsoft.com/office/drawing/2014/main" id="{0EB02D2D-A675-1F9A-B93D-2E54FB7204E0}"/>
                </a:ext>
              </a:extLst>
            </p:cNvPr>
            <p:cNvSpPr/>
            <p:nvPr/>
          </p:nvSpPr>
          <p:spPr>
            <a:xfrm>
              <a:off x="5555970" y="717077"/>
              <a:ext cx="7984744" cy="5414294"/>
            </a:xfrm>
            <a:custGeom>
              <a:avLst/>
              <a:gdLst>
                <a:gd name="connsiteX0" fmla="*/ 593737 w 15796902"/>
                <a:gd name="connsiteY0" fmla="*/ 0 h 10799762"/>
                <a:gd name="connsiteX1" fmla="*/ 2968613 w 15796902"/>
                <a:gd name="connsiteY1" fmla="*/ 0 h 10799762"/>
                <a:gd name="connsiteX2" fmla="*/ 2968615 w 15796902"/>
                <a:gd name="connsiteY2" fmla="*/ 0 h 10799762"/>
                <a:gd name="connsiteX3" fmla="*/ 12828290 w 15796902"/>
                <a:gd name="connsiteY3" fmla="*/ 0 h 10799762"/>
                <a:gd name="connsiteX4" fmla="*/ 14287500 w 15796902"/>
                <a:gd name="connsiteY4" fmla="*/ 0 h 10799762"/>
                <a:gd name="connsiteX5" fmla="*/ 15203166 w 15796902"/>
                <a:gd name="connsiteY5" fmla="*/ 0 h 10799762"/>
                <a:gd name="connsiteX6" fmla="*/ 15796902 w 15796902"/>
                <a:gd name="connsiteY6" fmla="*/ 593737 h 10799762"/>
                <a:gd name="connsiteX7" fmla="*/ 15796902 w 15796902"/>
                <a:gd name="connsiteY7" fmla="*/ 5080012 h 10799762"/>
                <a:gd name="connsiteX8" fmla="*/ 15796902 w 15796902"/>
                <a:gd name="connsiteY8" fmla="*/ 5719750 h 10799762"/>
                <a:gd name="connsiteX9" fmla="*/ 15796902 w 15796902"/>
                <a:gd name="connsiteY9" fmla="*/ 10206025 h 10799762"/>
                <a:gd name="connsiteX10" fmla="*/ 15203166 w 15796902"/>
                <a:gd name="connsiteY10" fmla="*/ 10799762 h 10799762"/>
                <a:gd name="connsiteX11" fmla="*/ 14287500 w 15796902"/>
                <a:gd name="connsiteY11" fmla="*/ 10799762 h 10799762"/>
                <a:gd name="connsiteX12" fmla="*/ 12828290 w 15796902"/>
                <a:gd name="connsiteY12" fmla="*/ 10799762 h 10799762"/>
                <a:gd name="connsiteX13" fmla="*/ 2968613 w 15796902"/>
                <a:gd name="connsiteY13" fmla="*/ 10799762 h 10799762"/>
                <a:gd name="connsiteX14" fmla="*/ 1781175 w 15796902"/>
                <a:gd name="connsiteY14" fmla="*/ 10799762 h 10799762"/>
                <a:gd name="connsiteX15" fmla="*/ 593737 w 15796902"/>
                <a:gd name="connsiteY15" fmla="*/ 10799762 h 10799762"/>
                <a:gd name="connsiteX16" fmla="*/ 0 w 15796902"/>
                <a:gd name="connsiteY16" fmla="*/ 10206025 h 10799762"/>
                <a:gd name="connsiteX17" fmla="*/ 0 w 15796902"/>
                <a:gd name="connsiteY17" fmla="*/ 5719750 h 10799762"/>
                <a:gd name="connsiteX18" fmla="*/ 0 w 15796902"/>
                <a:gd name="connsiteY18" fmla="*/ 5080012 h 10799762"/>
                <a:gd name="connsiteX19" fmla="*/ 0 w 15796902"/>
                <a:gd name="connsiteY19" fmla="*/ 593737 h 10799762"/>
                <a:gd name="connsiteX20" fmla="*/ 593737 w 15796902"/>
                <a:gd name="connsiteY20" fmla="*/ 0 h 10799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5796902" h="10799762">
                  <a:moveTo>
                    <a:pt x="593737" y="0"/>
                  </a:moveTo>
                  <a:lnTo>
                    <a:pt x="2968613" y="0"/>
                  </a:lnTo>
                  <a:lnTo>
                    <a:pt x="2968615" y="0"/>
                  </a:lnTo>
                  <a:lnTo>
                    <a:pt x="12828290" y="0"/>
                  </a:lnTo>
                  <a:lnTo>
                    <a:pt x="14287500" y="0"/>
                  </a:lnTo>
                  <a:lnTo>
                    <a:pt x="15203166" y="0"/>
                  </a:lnTo>
                  <a:cubicBezTo>
                    <a:pt x="15531078" y="0"/>
                    <a:pt x="15796902" y="265825"/>
                    <a:pt x="15796902" y="593737"/>
                  </a:cubicBezTo>
                  <a:lnTo>
                    <a:pt x="15796902" y="5080012"/>
                  </a:lnTo>
                  <a:lnTo>
                    <a:pt x="15796902" y="5719750"/>
                  </a:lnTo>
                  <a:lnTo>
                    <a:pt x="15796902" y="10206025"/>
                  </a:lnTo>
                  <a:cubicBezTo>
                    <a:pt x="15796902" y="10533937"/>
                    <a:pt x="15531078" y="10799762"/>
                    <a:pt x="15203166" y="10799762"/>
                  </a:cubicBezTo>
                  <a:lnTo>
                    <a:pt x="14287500" y="10799762"/>
                  </a:lnTo>
                  <a:lnTo>
                    <a:pt x="12828290" y="10799762"/>
                  </a:lnTo>
                  <a:lnTo>
                    <a:pt x="2968613" y="10799762"/>
                  </a:lnTo>
                  <a:lnTo>
                    <a:pt x="1781175" y="10799762"/>
                  </a:lnTo>
                  <a:lnTo>
                    <a:pt x="593737" y="10799762"/>
                  </a:lnTo>
                  <a:cubicBezTo>
                    <a:pt x="265825" y="10799762"/>
                    <a:pt x="0" y="10533937"/>
                    <a:pt x="0" y="10206025"/>
                  </a:cubicBezTo>
                  <a:lnTo>
                    <a:pt x="0" y="5719750"/>
                  </a:lnTo>
                  <a:lnTo>
                    <a:pt x="0" y="5080012"/>
                  </a:lnTo>
                  <a:lnTo>
                    <a:pt x="0" y="593737"/>
                  </a:lnTo>
                  <a:cubicBezTo>
                    <a:pt x="0" y="265825"/>
                    <a:pt x="265825" y="0"/>
                    <a:pt x="593737" y="0"/>
                  </a:cubicBezTo>
                  <a:close/>
                </a:path>
              </a:pathLst>
            </a:custGeom>
            <a:solidFill>
              <a:srgbClr val="3838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12" name="Полилиния 36">
              <a:extLst>
                <a:ext uri="{FF2B5EF4-FFF2-40B4-BE49-F238E27FC236}">
                  <a16:creationId xmlns:a16="http://schemas.microsoft.com/office/drawing/2014/main" id="{AA770B05-20B5-050F-1AF8-8C3065AA61CE}"/>
                </a:ext>
              </a:extLst>
            </p:cNvPr>
            <p:cNvSpPr/>
            <p:nvPr/>
          </p:nvSpPr>
          <p:spPr>
            <a:xfrm>
              <a:off x="4703929" y="6202089"/>
              <a:ext cx="9773238" cy="76176"/>
            </a:xfrm>
            <a:custGeom>
              <a:avLst/>
              <a:gdLst>
                <a:gd name="connsiteX0" fmla="*/ 0 w 19335232"/>
                <a:gd name="connsiteY0" fmla="*/ 0 h 333694"/>
                <a:gd name="connsiteX1" fmla="*/ 19335232 w 19335232"/>
                <a:gd name="connsiteY1" fmla="*/ 0 h 333694"/>
                <a:gd name="connsiteX2" fmla="*/ 19322694 w 19335232"/>
                <a:gd name="connsiteY2" fmla="*/ 40390 h 333694"/>
                <a:gd name="connsiteX3" fmla="*/ 18880202 w 19335232"/>
                <a:gd name="connsiteY3" fmla="*/ 333694 h 333694"/>
                <a:gd name="connsiteX4" fmla="*/ 455030 w 19335232"/>
                <a:gd name="connsiteY4" fmla="*/ 333694 h 333694"/>
                <a:gd name="connsiteX5" fmla="*/ 12538 w 19335232"/>
                <a:gd name="connsiteY5" fmla="*/ 40390 h 333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335232" h="333694">
                  <a:moveTo>
                    <a:pt x="0" y="0"/>
                  </a:moveTo>
                  <a:lnTo>
                    <a:pt x="19335232" y="0"/>
                  </a:lnTo>
                  <a:lnTo>
                    <a:pt x="19322694" y="40390"/>
                  </a:lnTo>
                  <a:cubicBezTo>
                    <a:pt x="19249792" y="212753"/>
                    <a:pt x="19079120" y="333694"/>
                    <a:pt x="18880202" y="333694"/>
                  </a:cubicBezTo>
                  <a:lnTo>
                    <a:pt x="455030" y="333694"/>
                  </a:lnTo>
                  <a:cubicBezTo>
                    <a:pt x="256112" y="333694"/>
                    <a:pt x="85441" y="212753"/>
                    <a:pt x="12538" y="40390"/>
                  </a:cubicBezTo>
                  <a:close/>
                </a:path>
              </a:pathLst>
            </a:custGeom>
            <a:gradFill flip="none" rotWithShape="1">
              <a:gsLst>
                <a:gs pos="89000">
                  <a:srgbClr val="828282"/>
                </a:gs>
                <a:gs pos="0">
                  <a:srgbClr val="C5C5C5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13" name="Прямоугольник 6">
              <a:extLst>
                <a:ext uri="{FF2B5EF4-FFF2-40B4-BE49-F238E27FC236}">
                  <a16:creationId xmlns:a16="http://schemas.microsoft.com/office/drawing/2014/main" id="{908B062C-B267-390E-6EA5-40D76E5BEC76}"/>
                </a:ext>
              </a:extLst>
            </p:cNvPr>
            <p:cNvSpPr/>
            <p:nvPr/>
          </p:nvSpPr>
          <p:spPr>
            <a:xfrm>
              <a:off x="4703929" y="6015623"/>
              <a:ext cx="9773238" cy="186467"/>
            </a:xfrm>
            <a:prstGeom prst="rect">
              <a:avLst/>
            </a:prstGeom>
            <a:gradFill flip="none" rotWithShape="1">
              <a:gsLst>
                <a:gs pos="2000">
                  <a:srgbClr val="D5D5D5"/>
                </a:gs>
                <a:gs pos="1000">
                  <a:srgbClr val="F2F2F2"/>
                </a:gs>
                <a:gs pos="0">
                  <a:schemeClr val="tx1">
                    <a:alpha val="5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14" name="Полилиния 37">
              <a:extLst>
                <a:ext uri="{FF2B5EF4-FFF2-40B4-BE49-F238E27FC236}">
                  <a16:creationId xmlns:a16="http://schemas.microsoft.com/office/drawing/2014/main" id="{D4075F60-5602-D91B-7F5C-17FD295EE40D}"/>
                </a:ext>
              </a:extLst>
            </p:cNvPr>
            <p:cNvSpPr/>
            <p:nvPr/>
          </p:nvSpPr>
          <p:spPr>
            <a:xfrm>
              <a:off x="8891012" y="6018701"/>
              <a:ext cx="1351391" cy="106495"/>
            </a:xfrm>
            <a:custGeom>
              <a:avLst/>
              <a:gdLst>
                <a:gd name="connsiteX0" fmla="*/ 0 w 2673572"/>
                <a:gd name="connsiteY0" fmla="*/ 0 h 212424"/>
                <a:gd name="connsiteX1" fmla="*/ 2673572 w 2673572"/>
                <a:gd name="connsiteY1" fmla="*/ 0 h 212424"/>
                <a:gd name="connsiteX2" fmla="*/ 2662629 w 2673572"/>
                <a:gd name="connsiteY2" fmla="*/ 54207 h 212424"/>
                <a:gd name="connsiteX3" fmla="*/ 2423935 w 2673572"/>
                <a:gd name="connsiteY3" fmla="*/ 212424 h 212424"/>
                <a:gd name="connsiteX4" fmla="*/ 249637 w 2673572"/>
                <a:gd name="connsiteY4" fmla="*/ 212424 h 212424"/>
                <a:gd name="connsiteX5" fmla="*/ 10944 w 2673572"/>
                <a:gd name="connsiteY5" fmla="*/ 54207 h 212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73572" h="212424">
                  <a:moveTo>
                    <a:pt x="0" y="0"/>
                  </a:moveTo>
                  <a:lnTo>
                    <a:pt x="2673572" y="0"/>
                  </a:lnTo>
                  <a:lnTo>
                    <a:pt x="2662629" y="54207"/>
                  </a:lnTo>
                  <a:cubicBezTo>
                    <a:pt x="2623302" y="147185"/>
                    <a:pt x="2531237" y="212424"/>
                    <a:pt x="2423935" y="212424"/>
                  </a:cubicBezTo>
                  <a:lnTo>
                    <a:pt x="249637" y="212424"/>
                  </a:lnTo>
                  <a:cubicBezTo>
                    <a:pt x="142335" y="212424"/>
                    <a:pt x="50270" y="147185"/>
                    <a:pt x="10944" y="54207"/>
                  </a:cubicBezTo>
                  <a:close/>
                </a:path>
              </a:pathLst>
            </a:custGeom>
            <a:gradFill>
              <a:gsLst>
                <a:gs pos="88000">
                  <a:srgbClr val="F2F2F2"/>
                </a:gs>
                <a:gs pos="12000">
                  <a:srgbClr val="F2F2F2"/>
                </a:gs>
                <a:gs pos="100000">
                  <a:srgbClr val="828282"/>
                </a:gs>
                <a:gs pos="0">
                  <a:srgbClr val="828282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grpSp>
          <p:nvGrpSpPr>
            <p:cNvPr id="15" name="Группа 26">
              <a:extLst>
                <a:ext uri="{FF2B5EF4-FFF2-40B4-BE49-F238E27FC236}">
                  <a16:creationId xmlns:a16="http://schemas.microsoft.com/office/drawing/2014/main" id="{20093510-ED29-04EF-E899-99B46CD96C41}"/>
                </a:ext>
              </a:extLst>
            </p:cNvPr>
            <p:cNvGrpSpPr/>
            <p:nvPr/>
          </p:nvGrpSpPr>
          <p:grpSpPr>
            <a:xfrm flipH="1">
              <a:off x="9572513" y="890239"/>
              <a:ext cx="23483" cy="22921"/>
              <a:chOff x="13422299" y="954496"/>
              <a:chExt cx="127026" cy="125005"/>
            </a:xfrm>
          </p:grpSpPr>
          <p:sp>
            <p:nvSpPr>
              <p:cNvPr id="16" name="Овал 29">
                <a:extLst>
                  <a:ext uri="{FF2B5EF4-FFF2-40B4-BE49-F238E27FC236}">
                    <a16:creationId xmlns:a16="http://schemas.microsoft.com/office/drawing/2014/main" id="{D40B1AD5-6A1F-8A9E-3282-52EBA43651BC}"/>
                  </a:ext>
                </a:extLst>
              </p:cNvPr>
              <p:cNvSpPr/>
              <p:nvPr/>
            </p:nvSpPr>
            <p:spPr>
              <a:xfrm>
                <a:off x="13422302" y="954496"/>
                <a:ext cx="127023" cy="125004"/>
              </a:xfrm>
              <a:prstGeom prst="ellipse">
                <a:avLst/>
              </a:prstGeom>
              <a:solidFill>
                <a:schemeClr val="bg1"/>
              </a:solidFill>
              <a:ln w="50800"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900"/>
              </a:p>
            </p:txBody>
          </p:sp>
          <p:sp>
            <p:nvSpPr>
              <p:cNvPr id="17" name="Овал 33">
                <a:extLst>
                  <a:ext uri="{FF2B5EF4-FFF2-40B4-BE49-F238E27FC236}">
                    <a16:creationId xmlns:a16="http://schemas.microsoft.com/office/drawing/2014/main" id="{F7B73047-27D4-E76D-C7F5-F0E3D60573E6}"/>
                  </a:ext>
                </a:extLst>
              </p:cNvPr>
              <p:cNvSpPr/>
              <p:nvPr/>
            </p:nvSpPr>
            <p:spPr>
              <a:xfrm>
                <a:off x="13422299" y="954497"/>
                <a:ext cx="127026" cy="125004"/>
              </a:xfrm>
              <a:prstGeom prst="ellipse">
                <a:avLst/>
              </a:prstGeom>
              <a:solidFill>
                <a:srgbClr val="002060"/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900"/>
              </a:p>
            </p:txBody>
          </p:sp>
        </p:grpSp>
      </p:grpSp>
      <p:grpSp>
        <p:nvGrpSpPr>
          <p:cNvPr id="22" name="Group 22">
            <a:extLst>
              <a:ext uri="{FF2B5EF4-FFF2-40B4-BE49-F238E27FC236}">
                <a16:creationId xmlns:a16="http://schemas.microsoft.com/office/drawing/2014/main" id="{04E19095-8E62-65EA-C1F1-97ABCDC2B784}"/>
              </a:ext>
            </a:extLst>
          </p:cNvPr>
          <p:cNvGrpSpPr>
            <a:grpSpLocks noChangeAspect="1"/>
          </p:cNvGrpSpPr>
          <p:nvPr/>
        </p:nvGrpSpPr>
        <p:grpSpPr>
          <a:xfrm>
            <a:off x="2037053" y="5717089"/>
            <a:ext cx="312000" cy="311952"/>
            <a:chOff x="3238499" y="8277225"/>
            <a:chExt cx="666750" cy="666750"/>
          </a:xfrm>
        </p:grpSpPr>
        <p:sp>
          <p:nvSpPr>
            <p:cNvPr id="23" name="Oval 23">
              <a:extLst>
                <a:ext uri="{FF2B5EF4-FFF2-40B4-BE49-F238E27FC236}">
                  <a16:creationId xmlns:a16="http://schemas.microsoft.com/office/drawing/2014/main" id="{C965054C-D400-FF19-102F-47012D57DB55}"/>
                </a:ext>
              </a:extLst>
            </p:cNvPr>
            <p:cNvSpPr/>
            <p:nvPr/>
          </p:nvSpPr>
          <p:spPr>
            <a:xfrm>
              <a:off x="3238499" y="8277225"/>
              <a:ext cx="666750" cy="666750"/>
            </a:xfrm>
            <a:prstGeom prst="ellipse">
              <a:avLst/>
            </a:prstGeom>
            <a:solidFill>
              <a:schemeClr val="accent5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24" name="Freeform 24">
              <a:extLst>
                <a:ext uri="{FF2B5EF4-FFF2-40B4-BE49-F238E27FC236}">
                  <a16:creationId xmlns:a16="http://schemas.microsoft.com/office/drawing/2014/main" id="{38B78ABE-2B0F-7C8F-F992-60F5E0BCA7B3}"/>
                </a:ext>
              </a:extLst>
            </p:cNvPr>
            <p:cNvSpPr/>
            <p:nvPr/>
          </p:nvSpPr>
          <p:spPr bwMode="auto">
            <a:xfrm>
              <a:off x="3502483" y="8426894"/>
              <a:ext cx="189583" cy="367412"/>
            </a:xfrm>
            <a:custGeom>
              <a:avLst/>
              <a:gdLst>
                <a:gd name="T0" fmla="*/ 461 w 461"/>
                <a:gd name="T1" fmla="*/ 448 h 895"/>
                <a:gd name="T2" fmla="*/ 457 w 461"/>
                <a:gd name="T3" fmla="*/ 457 h 895"/>
                <a:gd name="T4" fmla="*/ 22 w 461"/>
                <a:gd name="T5" fmla="*/ 892 h 895"/>
                <a:gd name="T6" fmla="*/ 14 w 461"/>
                <a:gd name="T7" fmla="*/ 895 h 895"/>
                <a:gd name="T8" fmla="*/ 5 w 461"/>
                <a:gd name="T9" fmla="*/ 892 h 895"/>
                <a:gd name="T10" fmla="*/ 5 w 461"/>
                <a:gd name="T11" fmla="*/ 874 h 895"/>
                <a:gd name="T12" fmla="*/ 431 w 461"/>
                <a:gd name="T13" fmla="*/ 448 h 895"/>
                <a:gd name="T14" fmla="*/ 6 w 461"/>
                <a:gd name="T15" fmla="*/ 23 h 895"/>
                <a:gd name="T16" fmla="*/ 6 w 461"/>
                <a:gd name="T17" fmla="*/ 5 h 895"/>
                <a:gd name="T18" fmla="*/ 24 w 461"/>
                <a:gd name="T19" fmla="*/ 5 h 895"/>
                <a:gd name="T20" fmla="*/ 457 w 461"/>
                <a:gd name="T21" fmla="*/ 439 h 895"/>
                <a:gd name="T22" fmla="*/ 461 w 461"/>
                <a:gd name="T23" fmla="*/ 448 h 8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1" h="895">
                  <a:moveTo>
                    <a:pt x="461" y="448"/>
                  </a:moveTo>
                  <a:cubicBezTo>
                    <a:pt x="461" y="452"/>
                    <a:pt x="460" y="454"/>
                    <a:pt x="457" y="457"/>
                  </a:cubicBezTo>
                  <a:lnTo>
                    <a:pt x="22" y="892"/>
                  </a:lnTo>
                  <a:cubicBezTo>
                    <a:pt x="20" y="894"/>
                    <a:pt x="16" y="895"/>
                    <a:pt x="14" y="895"/>
                  </a:cubicBezTo>
                  <a:cubicBezTo>
                    <a:pt x="11" y="895"/>
                    <a:pt x="7" y="894"/>
                    <a:pt x="5" y="892"/>
                  </a:cubicBezTo>
                  <a:cubicBezTo>
                    <a:pt x="0" y="887"/>
                    <a:pt x="0" y="879"/>
                    <a:pt x="5" y="874"/>
                  </a:cubicBezTo>
                  <a:lnTo>
                    <a:pt x="431" y="448"/>
                  </a:lnTo>
                  <a:lnTo>
                    <a:pt x="6" y="23"/>
                  </a:lnTo>
                  <a:cubicBezTo>
                    <a:pt x="1" y="18"/>
                    <a:pt x="1" y="10"/>
                    <a:pt x="6" y="5"/>
                  </a:cubicBezTo>
                  <a:cubicBezTo>
                    <a:pt x="11" y="0"/>
                    <a:pt x="19" y="0"/>
                    <a:pt x="24" y="5"/>
                  </a:cubicBezTo>
                  <a:lnTo>
                    <a:pt x="457" y="439"/>
                  </a:lnTo>
                  <a:cubicBezTo>
                    <a:pt x="460" y="442"/>
                    <a:pt x="461" y="444"/>
                    <a:pt x="461" y="448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</a:ln>
          </p:spPr>
          <p:txBody>
            <a:bodyPr vert="horz" wrap="square" lIns="137160" tIns="68580" rIns="137160" bIns="68580" numCol="1" anchor="t" anchorCtr="0" compatLnSpc="1"/>
            <a:lstStyle/>
            <a:p>
              <a:endParaRPr lang="en-US" sz="2700"/>
            </a:p>
          </p:txBody>
        </p:sp>
      </p:grpSp>
      <p:sp>
        <p:nvSpPr>
          <p:cNvPr id="26" name="PA_TextPlaceholder 1">
            <a:extLst>
              <a:ext uri="{FF2B5EF4-FFF2-40B4-BE49-F238E27FC236}">
                <a16:creationId xmlns:a16="http://schemas.microsoft.com/office/drawing/2014/main" id="{AE2C220A-A6CC-66AB-5941-148EF210F27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216357" y="2871458"/>
            <a:ext cx="4051121" cy="2457579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优点：</a:t>
            </a:r>
            <a:endParaRPr lang="en-US" altLang="zh-CN" sz="1400" dirty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拥有</a:t>
            </a: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128k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上下文的高性价比优势，费用约</a:t>
            </a: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$0.8/1M tokens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，适合大规模文本处理；</a:t>
            </a:r>
            <a:b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欧洲数据合规性强，适合对隐私和数据安全要求较高的应用场景。</a:t>
            </a:r>
            <a:endParaRPr lang="en-US" altLang="zh-CN" sz="1400" dirty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缺点：</a:t>
            </a:r>
            <a:endParaRPr lang="en-US" altLang="zh-CN" sz="1400" dirty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目前多模态能力较弱，难以同时处理图像、视频等非文本数据</a:t>
            </a:r>
            <a:r>
              <a:rPr lang="zh-CN" altLang="en-US" sz="1000" dirty="0"/>
              <a:t>；</a:t>
            </a:r>
            <a:br>
              <a:rPr lang="zh-CN" altLang="en-US" sz="1000" dirty="0"/>
            </a:br>
            <a:endParaRPr lang="en-US" sz="14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27" name="PA_TextPlaceholder 2">
            <a:extLst>
              <a:ext uri="{FF2B5EF4-FFF2-40B4-BE49-F238E27FC236}">
                <a16:creationId xmlns:a16="http://schemas.microsoft.com/office/drawing/2014/main" id="{4F8E5866-86D0-5402-08CB-6D801023848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84976" y="1597191"/>
            <a:ext cx="4051121" cy="1503831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3600" b="1" dirty="0">
                <a:solidFill>
                  <a:srgbClr val="404040"/>
                </a:solidFill>
                <a:latin typeface="Inter"/>
              </a:rPr>
              <a:t>Mistral Large</a:t>
            </a:r>
            <a:endParaRPr lang="en-US" sz="3600" b="1" dirty="0">
              <a:solidFill>
                <a:srgbClr val="404040"/>
              </a:solidFill>
              <a:latin typeface="Inter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70FBCA02-A680-7B5C-BB74-6902F7AD53C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41784" y="1585061"/>
            <a:ext cx="7303307" cy="3841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1164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3000"/>
    </mc:Choice>
    <mc:Fallback xmlns="">
      <p:transition advTm="3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ur="500" decel="5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11FC0C-F6EA-8145-E3A5-7B864C1083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8">
            <a:extLst>
              <a:ext uri="{FF2B5EF4-FFF2-40B4-BE49-F238E27FC236}">
                <a16:creationId xmlns:a16="http://schemas.microsoft.com/office/drawing/2014/main" id="{4522DA99-E22F-2097-7525-BC31722BD2A7}"/>
              </a:ext>
            </a:extLst>
          </p:cNvPr>
          <p:cNvSpPr/>
          <p:nvPr/>
        </p:nvSpPr>
        <p:spPr>
          <a:xfrm>
            <a:off x="5732640" y="0"/>
            <a:ext cx="6459359" cy="6858000"/>
          </a:xfrm>
          <a:prstGeom prst="rect">
            <a:avLst/>
          </a:prstGeom>
          <a:gradFill>
            <a:gsLst>
              <a:gs pos="100000">
                <a:schemeClr val="tx2">
                  <a:lumMod val="60000"/>
                  <a:lumOff val="40000"/>
                </a:schemeClr>
              </a:gs>
              <a:gs pos="0">
                <a:schemeClr val="tx2">
                  <a:lumMod val="20000"/>
                  <a:lumOff val="8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9" tIns="22859" rIns="45719" bIns="22859" rtlCol="0" anchor="ctr"/>
          <a:lstStyle/>
          <a:p>
            <a:pPr algn="ctr"/>
            <a:endParaRPr lang="en-US"/>
          </a:p>
        </p:txBody>
      </p:sp>
      <p:grpSp>
        <p:nvGrpSpPr>
          <p:cNvPr id="9" name="Группа 1">
            <a:extLst>
              <a:ext uri="{FF2B5EF4-FFF2-40B4-BE49-F238E27FC236}">
                <a16:creationId xmlns:a16="http://schemas.microsoft.com/office/drawing/2014/main" id="{ACFB6F97-B3FB-1DA2-B2C0-6A6BB8046CD7}"/>
              </a:ext>
            </a:extLst>
          </p:cNvPr>
          <p:cNvGrpSpPr/>
          <p:nvPr/>
        </p:nvGrpSpPr>
        <p:grpSpPr>
          <a:xfrm>
            <a:off x="4901371" y="856779"/>
            <a:ext cx="9773240" cy="5561188"/>
            <a:chOff x="4703929" y="717077"/>
            <a:chExt cx="9773238" cy="5561188"/>
          </a:xfrm>
        </p:grpSpPr>
        <p:sp>
          <p:nvSpPr>
            <p:cNvPr id="11" name="Полилиния 34">
              <a:extLst>
                <a:ext uri="{FF2B5EF4-FFF2-40B4-BE49-F238E27FC236}">
                  <a16:creationId xmlns:a16="http://schemas.microsoft.com/office/drawing/2014/main" id="{9D55ACB8-81CD-2B51-ED96-489063EBF159}"/>
                </a:ext>
              </a:extLst>
            </p:cNvPr>
            <p:cNvSpPr/>
            <p:nvPr/>
          </p:nvSpPr>
          <p:spPr>
            <a:xfrm>
              <a:off x="5555970" y="717077"/>
              <a:ext cx="7984744" cy="5414294"/>
            </a:xfrm>
            <a:custGeom>
              <a:avLst/>
              <a:gdLst>
                <a:gd name="connsiteX0" fmla="*/ 593737 w 15796902"/>
                <a:gd name="connsiteY0" fmla="*/ 0 h 10799762"/>
                <a:gd name="connsiteX1" fmla="*/ 2968613 w 15796902"/>
                <a:gd name="connsiteY1" fmla="*/ 0 h 10799762"/>
                <a:gd name="connsiteX2" fmla="*/ 2968615 w 15796902"/>
                <a:gd name="connsiteY2" fmla="*/ 0 h 10799762"/>
                <a:gd name="connsiteX3" fmla="*/ 12828290 w 15796902"/>
                <a:gd name="connsiteY3" fmla="*/ 0 h 10799762"/>
                <a:gd name="connsiteX4" fmla="*/ 14287500 w 15796902"/>
                <a:gd name="connsiteY4" fmla="*/ 0 h 10799762"/>
                <a:gd name="connsiteX5" fmla="*/ 15203166 w 15796902"/>
                <a:gd name="connsiteY5" fmla="*/ 0 h 10799762"/>
                <a:gd name="connsiteX6" fmla="*/ 15796902 w 15796902"/>
                <a:gd name="connsiteY6" fmla="*/ 593737 h 10799762"/>
                <a:gd name="connsiteX7" fmla="*/ 15796902 w 15796902"/>
                <a:gd name="connsiteY7" fmla="*/ 5080012 h 10799762"/>
                <a:gd name="connsiteX8" fmla="*/ 15796902 w 15796902"/>
                <a:gd name="connsiteY8" fmla="*/ 5719750 h 10799762"/>
                <a:gd name="connsiteX9" fmla="*/ 15796902 w 15796902"/>
                <a:gd name="connsiteY9" fmla="*/ 10206025 h 10799762"/>
                <a:gd name="connsiteX10" fmla="*/ 15203166 w 15796902"/>
                <a:gd name="connsiteY10" fmla="*/ 10799762 h 10799762"/>
                <a:gd name="connsiteX11" fmla="*/ 14287500 w 15796902"/>
                <a:gd name="connsiteY11" fmla="*/ 10799762 h 10799762"/>
                <a:gd name="connsiteX12" fmla="*/ 12828290 w 15796902"/>
                <a:gd name="connsiteY12" fmla="*/ 10799762 h 10799762"/>
                <a:gd name="connsiteX13" fmla="*/ 2968613 w 15796902"/>
                <a:gd name="connsiteY13" fmla="*/ 10799762 h 10799762"/>
                <a:gd name="connsiteX14" fmla="*/ 1781175 w 15796902"/>
                <a:gd name="connsiteY14" fmla="*/ 10799762 h 10799762"/>
                <a:gd name="connsiteX15" fmla="*/ 593737 w 15796902"/>
                <a:gd name="connsiteY15" fmla="*/ 10799762 h 10799762"/>
                <a:gd name="connsiteX16" fmla="*/ 0 w 15796902"/>
                <a:gd name="connsiteY16" fmla="*/ 10206025 h 10799762"/>
                <a:gd name="connsiteX17" fmla="*/ 0 w 15796902"/>
                <a:gd name="connsiteY17" fmla="*/ 5719750 h 10799762"/>
                <a:gd name="connsiteX18" fmla="*/ 0 w 15796902"/>
                <a:gd name="connsiteY18" fmla="*/ 5080012 h 10799762"/>
                <a:gd name="connsiteX19" fmla="*/ 0 w 15796902"/>
                <a:gd name="connsiteY19" fmla="*/ 593737 h 10799762"/>
                <a:gd name="connsiteX20" fmla="*/ 593737 w 15796902"/>
                <a:gd name="connsiteY20" fmla="*/ 0 h 10799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5796902" h="10799762">
                  <a:moveTo>
                    <a:pt x="593737" y="0"/>
                  </a:moveTo>
                  <a:lnTo>
                    <a:pt x="2968613" y="0"/>
                  </a:lnTo>
                  <a:lnTo>
                    <a:pt x="2968615" y="0"/>
                  </a:lnTo>
                  <a:lnTo>
                    <a:pt x="12828290" y="0"/>
                  </a:lnTo>
                  <a:lnTo>
                    <a:pt x="14287500" y="0"/>
                  </a:lnTo>
                  <a:lnTo>
                    <a:pt x="15203166" y="0"/>
                  </a:lnTo>
                  <a:cubicBezTo>
                    <a:pt x="15531078" y="0"/>
                    <a:pt x="15796902" y="265825"/>
                    <a:pt x="15796902" y="593737"/>
                  </a:cubicBezTo>
                  <a:lnTo>
                    <a:pt x="15796902" y="5080012"/>
                  </a:lnTo>
                  <a:lnTo>
                    <a:pt x="15796902" y="5719750"/>
                  </a:lnTo>
                  <a:lnTo>
                    <a:pt x="15796902" y="10206025"/>
                  </a:lnTo>
                  <a:cubicBezTo>
                    <a:pt x="15796902" y="10533937"/>
                    <a:pt x="15531078" y="10799762"/>
                    <a:pt x="15203166" y="10799762"/>
                  </a:cubicBezTo>
                  <a:lnTo>
                    <a:pt x="14287500" y="10799762"/>
                  </a:lnTo>
                  <a:lnTo>
                    <a:pt x="12828290" y="10799762"/>
                  </a:lnTo>
                  <a:lnTo>
                    <a:pt x="2968613" y="10799762"/>
                  </a:lnTo>
                  <a:lnTo>
                    <a:pt x="1781175" y="10799762"/>
                  </a:lnTo>
                  <a:lnTo>
                    <a:pt x="593737" y="10799762"/>
                  </a:lnTo>
                  <a:cubicBezTo>
                    <a:pt x="265825" y="10799762"/>
                    <a:pt x="0" y="10533937"/>
                    <a:pt x="0" y="10206025"/>
                  </a:cubicBezTo>
                  <a:lnTo>
                    <a:pt x="0" y="5719750"/>
                  </a:lnTo>
                  <a:lnTo>
                    <a:pt x="0" y="5080012"/>
                  </a:lnTo>
                  <a:lnTo>
                    <a:pt x="0" y="593737"/>
                  </a:lnTo>
                  <a:cubicBezTo>
                    <a:pt x="0" y="265825"/>
                    <a:pt x="265825" y="0"/>
                    <a:pt x="593737" y="0"/>
                  </a:cubicBezTo>
                  <a:close/>
                </a:path>
              </a:pathLst>
            </a:custGeom>
            <a:solidFill>
              <a:srgbClr val="3838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12" name="Полилиния 36">
              <a:extLst>
                <a:ext uri="{FF2B5EF4-FFF2-40B4-BE49-F238E27FC236}">
                  <a16:creationId xmlns:a16="http://schemas.microsoft.com/office/drawing/2014/main" id="{60E4EE90-FFD8-38E3-AE3F-90B28B85BE87}"/>
                </a:ext>
              </a:extLst>
            </p:cNvPr>
            <p:cNvSpPr/>
            <p:nvPr/>
          </p:nvSpPr>
          <p:spPr>
            <a:xfrm>
              <a:off x="4703929" y="6202089"/>
              <a:ext cx="9773238" cy="76176"/>
            </a:xfrm>
            <a:custGeom>
              <a:avLst/>
              <a:gdLst>
                <a:gd name="connsiteX0" fmla="*/ 0 w 19335232"/>
                <a:gd name="connsiteY0" fmla="*/ 0 h 333694"/>
                <a:gd name="connsiteX1" fmla="*/ 19335232 w 19335232"/>
                <a:gd name="connsiteY1" fmla="*/ 0 h 333694"/>
                <a:gd name="connsiteX2" fmla="*/ 19322694 w 19335232"/>
                <a:gd name="connsiteY2" fmla="*/ 40390 h 333694"/>
                <a:gd name="connsiteX3" fmla="*/ 18880202 w 19335232"/>
                <a:gd name="connsiteY3" fmla="*/ 333694 h 333694"/>
                <a:gd name="connsiteX4" fmla="*/ 455030 w 19335232"/>
                <a:gd name="connsiteY4" fmla="*/ 333694 h 333694"/>
                <a:gd name="connsiteX5" fmla="*/ 12538 w 19335232"/>
                <a:gd name="connsiteY5" fmla="*/ 40390 h 333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335232" h="333694">
                  <a:moveTo>
                    <a:pt x="0" y="0"/>
                  </a:moveTo>
                  <a:lnTo>
                    <a:pt x="19335232" y="0"/>
                  </a:lnTo>
                  <a:lnTo>
                    <a:pt x="19322694" y="40390"/>
                  </a:lnTo>
                  <a:cubicBezTo>
                    <a:pt x="19249792" y="212753"/>
                    <a:pt x="19079120" y="333694"/>
                    <a:pt x="18880202" y="333694"/>
                  </a:cubicBezTo>
                  <a:lnTo>
                    <a:pt x="455030" y="333694"/>
                  </a:lnTo>
                  <a:cubicBezTo>
                    <a:pt x="256112" y="333694"/>
                    <a:pt x="85441" y="212753"/>
                    <a:pt x="12538" y="40390"/>
                  </a:cubicBezTo>
                  <a:close/>
                </a:path>
              </a:pathLst>
            </a:custGeom>
            <a:gradFill flip="none" rotWithShape="1">
              <a:gsLst>
                <a:gs pos="89000">
                  <a:srgbClr val="828282"/>
                </a:gs>
                <a:gs pos="0">
                  <a:srgbClr val="C5C5C5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13" name="Прямоугольник 6">
              <a:extLst>
                <a:ext uri="{FF2B5EF4-FFF2-40B4-BE49-F238E27FC236}">
                  <a16:creationId xmlns:a16="http://schemas.microsoft.com/office/drawing/2014/main" id="{D85698AB-08E9-F73D-FCDB-2A936BBFB3A1}"/>
                </a:ext>
              </a:extLst>
            </p:cNvPr>
            <p:cNvSpPr/>
            <p:nvPr/>
          </p:nvSpPr>
          <p:spPr>
            <a:xfrm>
              <a:off x="4703929" y="6015623"/>
              <a:ext cx="9773238" cy="186467"/>
            </a:xfrm>
            <a:prstGeom prst="rect">
              <a:avLst/>
            </a:prstGeom>
            <a:gradFill flip="none" rotWithShape="1">
              <a:gsLst>
                <a:gs pos="2000">
                  <a:srgbClr val="D5D5D5"/>
                </a:gs>
                <a:gs pos="1000">
                  <a:srgbClr val="F2F2F2"/>
                </a:gs>
                <a:gs pos="0">
                  <a:schemeClr val="tx1">
                    <a:alpha val="5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14" name="Полилиния 37">
              <a:extLst>
                <a:ext uri="{FF2B5EF4-FFF2-40B4-BE49-F238E27FC236}">
                  <a16:creationId xmlns:a16="http://schemas.microsoft.com/office/drawing/2014/main" id="{91D1CEA2-E158-CD44-851C-52E533DD76EC}"/>
                </a:ext>
              </a:extLst>
            </p:cNvPr>
            <p:cNvSpPr/>
            <p:nvPr/>
          </p:nvSpPr>
          <p:spPr>
            <a:xfrm>
              <a:off x="8891012" y="6018701"/>
              <a:ext cx="1351391" cy="106495"/>
            </a:xfrm>
            <a:custGeom>
              <a:avLst/>
              <a:gdLst>
                <a:gd name="connsiteX0" fmla="*/ 0 w 2673572"/>
                <a:gd name="connsiteY0" fmla="*/ 0 h 212424"/>
                <a:gd name="connsiteX1" fmla="*/ 2673572 w 2673572"/>
                <a:gd name="connsiteY1" fmla="*/ 0 h 212424"/>
                <a:gd name="connsiteX2" fmla="*/ 2662629 w 2673572"/>
                <a:gd name="connsiteY2" fmla="*/ 54207 h 212424"/>
                <a:gd name="connsiteX3" fmla="*/ 2423935 w 2673572"/>
                <a:gd name="connsiteY3" fmla="*/ 212424 h 212424"/>
                <a:gd name="connsiteX4" fmla="*/ 249637 w 2673572"/>
                <a:gd name="connsiteY4" fmla="*/ 212424 h 212424"/>
                <a:gd name="connsiteX5" fmla="*/ 10944 w 2673572"/>
                <a:gd name="connsiteY5" fmla="*/ 54207 h 212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73572" h="212424">
                  <a:moveTo>
                    <a:pt x="0" y="0"/>
                  </a:moveTo>
                  <a:lnTo>
                    <a:pt x="2673572" y="0"/>
                  </a:lnTo>
                  <a:lnTo>
                    <a:pt x="2662629" y="54207"/>
                  </a:lnTo>
                  <a:cubicBezTo>
                    <a:pt x="2623302" y="147185"/>
                    <a:pt x="2531237" y="212424"/>
                    <a:pt x="2423935" y="212424"/>
                  </a:cubicBezTo>
                  <a:lnTo>
                    <a:pt x="249637" y="212424"/>
                  </a:lnTo>
                  <a:cubicBezTo>
                    <a:pt x="142335" y="212424"/>
                    <a:pt x="50270" y="147185"/>
                    <a:pt x="10944" y="54207"/>
                  </a:cubicBezTo>
                  <a:close/>
                </a:path>
              </a:pathLst>
            </a:custGeom>
            <a:gradFill>
              <a:gsLst>
                <a:gs pos="88000">
                  <a:srgbClr val="F2F2F2"/>
                </a:gs>
                <a:gs pos="12000">
                  <a:srgbClr val="F2F2F2"/>
                </a:gs>
                <a:gs pos="100000">
                  <a:srgbClr val="828282"/>
                </a:gs>
                <a:gs pos="0">
                  <a:srgbClr val="828282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grpSp>
          <p:nvGrpSpPr>
            <p:cNvPr id="15" name="Группа 26">
              <a:extLst>
                <a:ext uri="{FF2B5EF4-FFF2-40B4-BE49-F238E27FC236}">
                  <a16:creationId xmlns:a16="http://schemas.microsoft.com/office/drawing/2014/main" id="{C3A085DF-0CCC-3422-6936-1C2599A778FC}"/>
                </a:ext>
              </a:extLst>
            </p:cNvPr>
            <p:cNvGrpSpPr/>
            <p:nvPr/>
          </p:nvGrpSpPr>
          <p:grpSpPr>
            <a:xfrm flipH="1">
              <a:off x="9572513" y="890239"/>
              <a:ext cx="23483" cy="22921"/>
              <a:chOff x="13422299" y="954496"/>
              <a:chExt cx="127026" cy="125005"/>
            </a:xfrm>
          </p:grpSpPr>
          <p:sp>
            <p:nvSpPr>
              <p:cNvPr id="16" name="Овал 29">
                <a:extLst>
                  <a:ext uri="{FF2B5EF4-FFF2-40B4-BE49-F238E27FC236}">
                    <a16:creationId xmlns:a16="http://schemas.microsoft.com/office/drawing/2014/main" id="{63CFF34D-695F-D4B6-A767-3B2D3768E785}"/>
                  </a:ext>
                </a:extLst>
              </p:cNvPr>
              <p:cNvSpPr/>
              <p:nvPr/>
            </p:nvSpPr>
            <p:spPr>
              <a:xfrm>
                <a:off x="13422302" y="954496"/>
                <a:ext cx="127023" cy="125004"/>
              </a:xfrm>
              <a:prstGeom prst="ellipse">
                <a:avLst/>
              </a:prstGeom>
              <a:solidFill>
                <a:schemeClr val="bg1"/>
              </a:solidFill>
              <a:ln w="50800"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900"/>
              </a:p>
            </p:txBody>
          </p:sp>
          <p:sp>
            <p:nvSpPr>
              <p:cNvPr id="17" name="Овал 33">
                <a:extLst>
                  <a:ext uri="{FF2B5EF4-FFF2-40B4-BE49-F238E27FC236}">
                    <a16:creationId xmlns:a16="http://schemas.microsoft.com/office/drawing/2014/main" id="{B7D08701-6991-75F1-2B01-12F6343EF6B7}"/>
                  </a:ext>
                </a:extLst>
              </p:cNvPr>
              <p:cNvSpPr/>
              <p:nvPr/>
            </p:nvSpPr>
            <p:spPr>
              <a:xfrm>
                <a:off x="13422299" y="954497"/>
                <a:ext cx="127026" cy="125004"/>
              </a:xfrm>
              <a:prstGeom prst="ellipse">
                <a:avLst/>
              </a:prstGeom>
              <a:solidFill>
                <a:srgbClr val="002060"/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900"/>
              </a:p>
            </p:txBody>
          </p:sp>
        </p:grpSp>
      </p:grpSp>
      <p:grpSp>
        <p:nvGrpSpPr>
          <p:cNvPr id="22" name="Group 22">
            <a:extLst>
              <a:ext uri="{FF2B5EF4-FFF2-40B4-BE49-F238E27FC236}">
                <a16:creationId xmlns:a16="http://schemas.microsoft.com/office/drawing/2014/main" id="{377BC585-59CB-1F3A-36C6-98E75C035198}"/>
              </a:ext>
            </a:extLst>
          </p:cNvPr>
          <p:cNvGrpSpPr>
            <a:grpSpLocks noChangeAspect="1"/>
          </p:cNvGrpSpPr>
          <p:nvPr/>
        </p:nvGrpSpPr>
        <p:grpSpPr>
          <a:xfrm>
            <a:off x="2037053" y="5717089"/>
            <a:ext cx="312000" cy="311952"/>
            <a:chOff x="3238499" y="8277225"/>
            <a:chExt cx="666750" cy="666750"/>
          </a:xfrm>
        </p:grpSpPr>
        <p:sp>
          <p:nvSpPr>
            <p:cNvPr id="23" name="Oval 23">
              <a:extLst>
                <a:ext uri="{FF2B5EF4-FFF2-40B4-BE49-F238E27FC236}">
                  <a16:creationId xmlns:a16="http://schemas.microsoft.com/office/drawing/2014/main" id="{0964E336-88F1-C5D9-80C7-6D698E1BBF4B}"/>
                </a:ext>
              </a:extLst>
            </p:cNvPr>
            <p:cNvSpPr/>
            <p:nvPr/>
          </p:nvSpPr>
          <p:spPr>
            <a:xfrm>
              <a:off x="3238499" y="8277225"/>
              <a:ext cx="666750" cy="666750"/>
            </a:xfrm>
            <a:prstGeom prst="ellipse">
              <a:avLst/>
            </a:prstGeom>
            <a:solidFill>
              <a:schemeClr val="accent5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24" name="Freeform 24">
              <a:extLst>
                <a:ext uri="{FF2B5EF4-FFF2-40B4-BE49-F238E27FC236}">
                  <a16:creationId xmlns:a16="http://schemas.microsoft.com/office/drawing/2014/main" id="{CE8D922C-B82A-516A-9BC7-F474A855C1BA}"/>
                </a:ext>
              </a:extLst>
            </p:cNvPr>
            <p:cNvSpPr/>
            <p:nvPr/>
          </p:nvSpPr>
          <p:spPr bwMode="auto">
            <a:xfrm>
              <a:off x="3502483" y="8426894"/>
              <a:ext cx="189583" cy="367412"/>
            </a:xfrm>
            <a:custGeom>
              <a:avLst/>
              <a:gdLst>
                <a:gd name="T0" fmla="*/ 461 w 461"/>
                <a:gd name="T1" fmla="*/ 448 h 895"/>
                <a:gd name="T2" fmla="*/ 457 w 461"/>
                <a:gd name="T3" fmla="*/ 457 h 895"/>
                <a:gd name="T4" fmla="*/ 22 w 461"/>
                <a:gd name="T5" fmla="*/ 892 h 895"/>
                <a:gd name="T6" fmla="*/ 14 w 461"/>
                <a:gd name="T7" fmla="*/ 895 h 895"/>
                <a:gd name="T8" fmla="*/ 5 w 461"/>
                <a:gd name="T9" fmla="*/ 892 h 895"/>
                <a:gd name="T10" fmla="*/ 5 w 461"/>
                <a:gd name="T11" fmla="*/ 874 h 895"/>
                <a:gd name="T12" fmla="*/ 431 w 461"/>
                <a:gd name="T13" fmla="*/ 448 h 895"/>
                <a:gd name="T14" fmla="*/ 6 w 461"/>
                <a:gd name="T15" fmla="*/ 23 h 895"/>
                <a:gd name="T16" fmla="*/ 6 w 461"/>
                <a:gd name="T17" fmla="*/ 5 h 895"/>
                <a:gd name="T18" fmla="*/ 24 w 461"/>
                <a:gd name="T19" fmla="*/ 5 h 895"/>
                <a:gd name="T20" fmla="*/ 457 w 461"/>
                <a:gd name="T21" fmla="*/ 439 h 895"/>
                <a:gd name="T22" fmla="*/ 461 w 461"/>
                <a:gd name="T23" fmla="*/ 448 h 8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1" h="895">
                  <a:moveTo>
                    <a:pt x="461" y="448"/>
                  </a:moveTo>
                  <a:cubicBezTo>
                    <a:pt x="461" y="452"/>
                    <a:pt x="460" y="454"/>
                    <a:pt x="457" y="457"/>
                  </a:cubicBezTo>
                  <a:lnTo>
                    <a:pt x="22" y="892"/>
                  </a:lnTo>
                  <a:cubicBezTo>
                    <a:pt x="20" y="894"/>
                    <a:pt x="16" y="895"/>
                    <a:pt x="14" y="895"/>
                  </a:cubicBezTo>
                  <a:cubicBezTo>
                    <a:pt x="11" y="895"/>
                    <a:pt x="7" y="894"/>
                    <a:pt x="5" y="892"/>
                  </a:cubicBezTo>
                  <a:cubicBezTo>
                    <a:pt x="0" y="887"/>
                    <a:pt x="0" y="879"/>
                    <a:pt x="5" y="874"/>
                  </a:cubicBezTo>
                  <a:lnTo>
                    <a:pt x="431" y="448"/>
                  </a:lnTo>
                  <a:lnTo>
                    <a:pt x="6" y="23"/>
                  </a:lnTo>
                  <a:cubicBezTo>
                    <a:pt x="1" y="18"/>
                    <a:pt x="1" y="10"/>
                    <a:pt x="6" y="5"/>
                  </a:cubicBezTo>
                  <a:cubicBezTo>
                    <a:pt x="11" y="0"/>
                    <a:pt x="19" y="0"/>
                    <a:pt x="24" y="5"/>
                  </a:cubicBezTo>
                  <a:lnTo>
                    <a:pt x="457" y="439"/>
                  </a:lnTo>
                  <a:cubicBezTo>
                    <a:pt x="460" y="442"/>
                    <a:pt x="461" y="444"/>
                    <a:pt x="461" y="448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</a:ln>
          </p:spPr>
          <p:txBody>
            <a:bodyPr vert="horz" wrap="square" lIns="137160" tIns="68580" rIns="137160" bIns="68580" numCol="1" anchor="t" anchorCtr="0" compatLnSpc="1"/>
            <a:lstStyle/>
            <a:p>
              <a:endParaRPr lang="en-US" sz="2700"/>
            </a:p>
          </p:txBody>
        </p:sp>
      </p:grpSp>
      <p:sp>
        <p:nvSpPr>
          <p:cNvPr id="26" name="PA_TextPlaceholder 1">
            <a:extLst>
              <a:ext uri="{FF2B5EF4-FFF2-40B4-BE49-F238E27FC236}">
                <a16:creationId xmlns:a16="http://schemas.microsoft.com/office/drawing/2014/main" id="{1565CEBF-8A4E-00CA-9B0A-894ABFD32E7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42110" y="2693511"/>
            <a:ext cx="4288423" cy="2457579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优点：</a:t>
            </a:r>
            <a:endParaRPr lang="en-US" altLang="zh-CN" sz="1400" dirty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在代码生成方面表现出色，</a:t>
            </a:r>
            <a:r>
              <a:rPr lang="en-US" altLang="zh-CN" sz="1400" dirty="0" err="1">
                <a:solidFill>
                  <a:schemeClr val="bg2">
                    <a:lumMod val="75000"/>
                  </a:schemeClr>
                </a:solidFill>
              </a:rPr>
              <a:t>HumanEval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基准准确率高达</a:t>
            </a: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98.7%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，适合开发者辅助编程；</a:t>
            </a:r>
            <a:b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对有害内容的拒绝策略严格，确保生成内容更为安全</a:t>
            </a:r>
            <a:endParaRPr lang="en-US" altLang="zh-CN" sz="1400" dirty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缺点：</a:t>
            </a:r>
            <a:endParaRPr lang="en-US" altLang="zh-CN" sz="1400" dirty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生成风格偏于保守，可能导致输出内容缺乏创意和多样性；</a:t>
            </a:r>
            <a:b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altLang="zh-CN" sz="1400" dirty="0">
                <a:solidFill>
                  <a:schemeClr val="bg2">
                    <a:lumMod val="75000"/>
                  </a:schemeClr>
                </a:solidFill>
              </a:rPr>
              <a:t>• </a:t>
            </a:r>
            <a:r>
              <a:rPr lang="zh-CN" altLang="en-US" sz="1400" dirty="0">
                <a:solidFill>
                  <a:schemeClr val="bg2">
                    <a:lumMod val="75000"/>
                  </a:schemeClr>
                </a:solidFill>
              </a:rPr>
              <a:t>图像理解能力落后于市场上同类竞品的一代产品，影响跨模态任务的表现</a:t>
            </a:r>
            <a:endParaRPr lang="en-US" sz="14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27" name="PA_TextPlaceholder 2">
            <a:extLst>
              <a:ext uri="{FF2B5EF4-FFF2-40B4-BE49-F238E27FC236}">
                <a16:creationId xmlns:a16="http://schemas.microsoft.com/office/drawing/2014/main" id="{9CEFBCFD-761F-DECB-F968-FF1C955DEF3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84976" y="1597191"/>
            <a:ext cx="4051121" cy="1503831"/>
          </a:xfrm>
          <a:prstGeom prst="rect">
            <a:avLst/>
          </a:prstGeom>
        </p:spPr>
        <p:txBody>
          <a:bodyPr lIns="121917" tIns="60958" rIns="121917" bIns="60958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3600" b="1" dirty="0">
                <a:solidFill>
                  <a:srgbClr val="404040"/>
                </a:solidFill>
                <a:latin typeface="Inter"/>
              </a:rPr>
              <a:t>Claude</a:t>
            </a:r>
            <a:endParaRPr lang="en-US" sz="3600" b="1" dirty="0">
              <a:solidFill>
                <a:srgbClr val="404040"/>
              </a:solidFill>
              <a:latin typeface="Inter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2CCAAFB5-5B15-9318-8AF4-B5F3B6E1E5B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80275" y="1817348"/>
            <a:ext cx="7291667" cy="38358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829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3000"/>
    </mc:Choice>
    <mc:Fallback xmlns="">
      <p:transition advTm="3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ur="500" decel="5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NET" val="4.0.30319.42000"/>
  <p:tag name="AS_OS" val="Microsoft Windows NT 6.1.7601 Service Pack 1"/>
  <p:tag name="AS_RELEASE_DATE" val="2022.11.14"/>
  <p:tag name="AS_TITLE" val="Aspose.Slides for .NET 4.0 Client Profile"/>
  <p:tag name="AS_VERSION" val="22.11"/>
  <p:tag name="COMMONDATA" val="eyJoZGlkIjoiMmMxNzY4NzliODJmOGYzMWEyZDdkODA0MWI0NTdiODcifQ=="/>
  <p:tag name="ISPRING_PLAYERS_CUSTOMIZATION" val="UEsDBBQAAgAIAOeJc0sVDq0oZAQAAAcRAAAdAAAAdW5pdmVyc2FsL2NvbW1vbl9tZXNzYWdlcy5sbmetWG1v2zYQ/l6g/4EQUGADtrQd0KIYEge0xNhEZMmV6DjZCwRGYmwilJjpxW32ab9mP2y/ZEfKTuK+QFISwDZMyvfc8e6eu6MPjz/nCm1EWUldHDlvD944SBSpzmSxOnIW7OTnDw6qal5kXOlCHDmFdtDx6OWLQ8WLVcNXAr6/fIHQYS6qCpbVyKzu10hmR858nLjhbI6Di8QPJ2EyphNn5Or8hhe3yNcr/Uf5wy/vP3x+++79j4evt5J9gOIZ9v19KGSR3r3pARSwKPQTQCN+EpBz5ozM5zC5cMF8GhBntP0yTHoekTNnZD475RZRRAKWxD71SELjJAiZ9YVPGPGc0YVu0JpvBKo12kjxCdVrAZGsZSlQpWRmH6QaNopGdCnzwhmmQRKRmEXUZTQMnFGsy/L2JwvLm3qtS1BXoUxW/FKJzOqEnLHPb0pRgWpeQ04heNVrCb/UOZfFQafqCC9pMElYGPpxQgJvt+OMSJEhr+RGzUCUCMckAoCSV6J8hGxis8yKI6zUMIQpnUx9eDNjwlSu1gre9VA75gRiMBdFlxTkCIkgu+J4GUaecRqoQhzd8Kr6pMtsLz8eBqoLmAZuCCnosgfgzGDsgCHGEipHWYq07gKbkTjGE5KMw3NIZOBdOEQiPAW6nQ6RuCAxUITEXTIBPqMTbBLeUGyX/zt+pdyks7pFPE1BzrhvI3VTwY5xKbDAMq06GKYmJh8XEDaK/e/QuEUF79rVSm4E2FFmouxUBJXFJZ7Joo8L+ltygqlPvATSyguXCbMlz2jM+S0qdI14tuFFKtClSHkDuX4LzzKZ2Wcmzlb/X438G/F6W1VebQtS4JHzV0Pt2ath3zCrqcCmuhb5Td2l2jhsa/5jrDA5/V0T+hz9cfpjlwQ4ouHzRKaSeaPaqvvk+NxZNjRGnUY80VP9o/XclsRtbR1TKFhjqftLEOimpn9AA1T9pWhwAormbYmGGk6LqwE6g3ALEGj0WIwzcNWeCWfgwgHySzKOKYPZaCkuK1l3jh2WjW2Avh3aFOY8JWpxT8ZLcaVhwlGCb9rpA7qQjXRnQB8MN3utglHmg8kBAK7a5AFIJXOwP+uBuZiRnQfaAr93kqVuVGbJq+S1LfLg2yYXX49NV6XO7a7i1S552yZz/BQr2sNFrdL5gPZ/x7/e8XlAv8dHKSY4cqeJiwOXmEHfcFX1FAIKGFf4LE58PDbiwIWc1+kamumVboqsJ1A7q3vkBAPY9syx4GW6/u+ff3tifGFJu4u2u78OAgFimypI7sB+D3Qtqj+7QBge78vZRR+p7d1mJ9fzqsMoZOGz3CF421pyncPWQbdeSPJt0DBj2J3OgAexTXvdlDC6DUGY4egUapmdwp3RjJfXUAiZ1moQinW1ScB6mPb762VTK1mIIbJPayXmwIzOE+x59q4N5FMyvW57ZgY3inR76VZw6e4L5k5xAHX2CzyRyXogoG1NuyoERG/X9zTffN2p7laV/cvi8PWDfzD+B1BLAwQUAAIACADniXNLCH4LIykDAACGDAAAJwAAAHVuaXZlcnNhbC9mbGFzaF9wdWJsaXNoaW5nX3NldHRpbmdzLnhtbNVX3W7aMBS+5yksT70saTu6diihqgpo1VpAhW3tVWViQ6w6dhbbUHq1p9mD7Ul2HAMFtevSH6RNCBGfn+/8n5jw6DYVaMJyzZWM8G51ByMmY0W5HEf4y6C9fYiRNkRSIpRkEZYKo6NGJczsUHCd9JkxIKoRwEhdz0yEE2OyehBMp9Mq11nuuEpYA/i6Gqs0yHKmmTQsDzJBZvBjZhnTeI5QAgC+qZJztUalglDokc4VtYIhTsFzyV1QRLQF0QkOvNiQxDfjXFlJT5RQOcrHwwi/Ozx2n4WMh2rylEmXE90AoiObOqGUOy+I6PM7hhLGxwm4e1DDaMqpSSK8V3MoIB08RCmwfejEoZwoyIE0c/iUGUKJIf7o7Rl2a/SC4El0JknK4wFwkIs/ws3B9aerXuvi7LTz+XrQ7Z4NTnveiUInWMcJg3VDITikbB6zpZ2QGEPiBPwGnRERmoXBKmkhNlJyzTl3RkMlIPeFFrRROmS0Q1K2Uo3+DZdtkNzFaASBiFmEj3NOBEbcEMHjpbK2Q224KareXpVEgAXtydB5H9+b99mJE5JrturWgqNdzuPGN2UFRTNlkeA3DBmFIH6bwlPC0Gpx0ChXaUGF9jFICw4WJ5xNGT0qcjoH/JOhKzCRWtCEXs0EM97Cd8vv0JCNVA64jEygs4HOtcevPgs4I1rfg5KFj1v9s9Nm6/q002xdbrkACZ0QGT8THArO0sxsBJ/MkFRmoQfpiInVrCgK5bTglYmt+vIyaJ5a4cv81sVYgd5gSTZj5TmF+asHpc0mZFIMohuuAhpGkENJPCYwYlgXXFpWFjAmEikpZojEsNa0G+sJV1YDxQ+wh9Yv99DrIy6L0xhWG1jMKctLQe7s7r2v7X84OPxYrwa/fvzcflJpvvB7gjhzfuOfPLnyl2v/4TYMA7elH1/aJrf/5s7uXbS+lslrp3U5KFXSVr8UXLeMVPdzGakL/5LprbxgSrkAS2nshwzWkuApN4y+ZYu9oE1e9W73PbaZNtlgzK8Zjf8mZH9aXhPX7oVh8OjF1XFSLnkKiXArcXnbbezXduCm+SirUgG09f8OjcpvUEsDBBQAAgAIAOeJc0u1/AlkugIAAFUKAAAhAAAAdW5pdmVyc2FsL2ZsYXNoX3NraW5fc2V0dGluZ3MueG1slVZtb+IwDP5+vwJx3+nulZ3UITHGSZN2t+k27XvamjYiTaokZce/vzhN1gQo9LAmEft5bMexzVK1pXzxYTJJc8GEfAatKS8VarxuQoubadZqLfgsF1wD1zMuZE3YdPHxp/2kiUVeYokdyLGcDcmhDzO3nzEUF+PbHGWIkIu6IXz/IEoxy0i+LaVoeXExtWrfgGSUbw3y6sd8tR4MwKjS9xrqKKf1Nco4SiNBKcCUvq9RLrIYyYD5SFf2M5LThzp/+wPajiqqLW35CWWI1pAS4iJfL1GG8dx4j19ljnKeoOGvNtAvn1EGoYzsQcbO776iDDJE0zb/0yONFCUWNOacf8R3DhOkMOOHWV2hXCTghTDQxVdw5bF3vQtA7ms49ymOqxTsCet6sBDw0TMGCy1bSBN/6myqEm+PrTbzAYsNYcoAQlUPejJJP5FWeTexrsf9gTfKi9CX0/SQV8HaGlZdwoG7WN/jV6tbuytCp++6IEMJO6cMUuyVPfK3qesRMlD2yGdGC3jkbH+cwaGpI/lHviXuOc/X31iBE3MsnNWfvBUjPeDoqiBVp/CYWhSwUJjOC60B3y1NrK5LKTnKKeVkR0uiqeC/EJft7WVUmhwYXK+d7qxUU83gVMPZHM2aDstlz3E/OmvckN3PQn+57jzRZovfTInWJK9q87OkphPHM2NiCjNNTjNwTxo4yHu+EQHHxh4i1URuQb4IwcaG4UKDGutedMM1BE+ToAZpcrrKqXNyqvy8rTOQa/NqFJSvcqzsgBUtK2b+9CuFNygOGAPWjqor448T+t6XgcI1ARCZV75ru0NnqVumKYMd+OEPFPbKQ3dLlenSoYZb6gfY6LDlnGZUT7pd0fdKvEMC/Qn8q0krcnxgGdH2mmTK3iyafL+G+1yixezXGTZfuMns2fVS5NjYjytolPjv5D9QSwMEFAACAAgA54lzSyqWD2f+AgAAlwsAACYAAAB1bml2ZXJzYWwvaHRtbF9wdWJsaXNoaW5nX3NldHRpbmdzLnhtbM2Wb08aMRjA3/Mpmi6+lFPnpiN3GCMYiU6IsE1fmXItXGOvvbU98Hy1T7MPtk+yp1dAiI6dRpaFEOjTPr/nX/u04dF9KtCEacOVjPBufQcjJmNFuRxH+MvgdPsQI2OJpEQoySIsFUZHzVqY5UPBTdJn1sJSgwAjTSOzEU6szRpBMJ1O69xk2s0qkVvgm3qs0iDTzDBpmQ4yQQr4sUXGDJ4RKgDgmyo5U2vWagiFnvRZ0VwwxCl4LrkLiogzmwoc+FVDEt+NtcolPVFCaaTHwwi/Ozx2n/kaT2rxlEmXEtMEoRPbBqGUOyeI6PMHhhLGxwl4e7CP0ZRTm0R4b99RYHXwlFKyfeTEUU4UpEDaGT5lllBiiR96e5bdWzMXeBEtJEl5PIAZ5MKPcGtwe3bTa19ddC7Pbwfd7sWg0/NOlDrBKicMVg2F4JDKdcwWdkJiLYkT8Bt0RkQYFgbLovmykZIrzrkxGioBqS+1MBqBp6KI8LHmRGDELRE8XsxaosfMnnIBMTjd3fpIWvwI9PHGCdGGLRuazxiXxbj5TeWCokLlSPA7hqxCEFGewr+EoeV0o5FWaSkVxFhkBKcMTTibMnpUZmkG/JOhGzCR5qAJmy8TzHoL33P+gIZspDRwGZnAVgU5N55ffxE4I8Y8Qsncx63+RafVvu1cttrXWy5AQidExi+EQwlZmtmN8EmBpLJzPUhHTHLDyqJQTsu5KrHVX18Gw9Nc+DK/dTGW0BssyWasvKQwf/WgstmETMqD6A5XiYYjyKEkngkTMRx3LnNWFRgTiZQUBSIxNCrjjvWEq9yAxB9gjzav99DrIy7L0RhuDrCoKdOVkDu7e+/3P3w8OPzUqAe/fvzcXqs0a+E9QZw538NP1jbxRSN/2g3DwPXO59uw1fm/6sK9q/bXKpm6bF8PKhWp3a+E61ZZ1T2vsurKXxu9pSujkgvQZsb+2ECjETzlltG33DSvKPz6+9dvizcq/AajWLt9/98g/Gjx3Fp5X4XBsw/AGshXH9PN2m9QSwMEFAACAAgA54lzS2hxUpGaAQAAHwYAAB8AAAB1bml2ZXJzYWwvaHRtbF9za2luX3NldHRpbmdzLmpzjZRNb8IwDIbv/AqUXSfEPmG7ocGkSRwmjdu0QyimVKRJlaQdHeK/rw5fTeqOxRfy8uR17CredrrVYhHrPne37rfbv/t7pwFqVudw7euiRU9RZ0YkC5glKYhEAguQ4nj0JO/OBGXMpDOdlx9oa2p+TOE/Sy5MHc8IC01ohjpcEOA3oW2owz8nsVOra19TrdHz3Fole5GSFqTtSaVT7hh29epWvcQAVgXoC+iSR+CZDtxqI8+ODwOMOhepNOOynKpY9eY8Wsda5XLRln9VZqCrT77eA/2nwcvEsxOJsW8W0jDxZIjRTmYajIFD3scJBgkLPgdR8+279QfqGTcLCugiMYk90qMbjDqd8RgaXRqOMHxMVl6Nbg4wmpyFjd0Td7cYHiF4CbphNb7H8ECV5dk/PmCmVYwdaaDNnp9QofgikfEhdR+D5PCyaNvWvXOh7vpj5j0hFTyhFfX80rbZEYKGAK03lo55TZB3StkJSpREDkVo1LQq6DliwzmC+88u49byaJVW46EajlUbuF6Dniklqtt/XbpnmKuz+wVQSwMEFAACAAgAaWGeSz08L9HBAAAA5QEAABoAAAB1bml2ZXJzYWwvaTE4bl9wcmVzZXRzLnhtbJ2RsQrCMBCG9z5FuN3EbqUkdRPcHHSWmqYaaS8ll1of35SKdJGAQyD/8X0/JCd3r75jT+PJOlSQ8y0wg9o1Fm8Kzqf9pgBGocam7hwaBeiA7apM2rzAozdkArFYgaTgHsJQCjFNE7c0+NhArhtDLCauXS/i6R2K2RTDosLilvYv+zODKssYk9fRduGAVbzHtCCMvFYwOxeN3GLrQPwCGpMATKrBUAJofQJ4DAnAjytAiu+b56RHCvGjYpBitZ4qewNQSwMEFAACAAgAaWGeS5r5lmRrAAAAawAAABwAAAB1bml2ZXJzYWwvbG9jYWxfc2V0dGluZ3MueG1ss7GvyM1RKEstKs7Mz7NVMtQzUFJIzUvOT8nMS7dVCg1x07VQUiguScxLSczJz0u1VcrLV1Kwt+OyyclPTswJTi0pASosVijISaxMLQpJzQUySlL9EnOBKp/tmfJ8ya5n09qfr9ivpG/HBQBQSwMEFAACAAgARJRXRyO0Tvv7AgAAsAgAABQAAAB1bml2ZXJzYWwvcGxheWVyLnhtbK1V30/bMBB+LtL+h8jv2C0dA6oExJDQHsaE1LHtrTKJm3hN4sx2COWv39nO76VsSHtolZzv++58993Fv3rOUu+JScVFHqAFniOP5aGIeB4H6OHr7fE5urp8d+QXKd0z6fEoQGXODYCmyIuYCiUvNIDvqU4C1DNgYEZeIbmQXO+B+xS420gnS/TuaAYuuQpQonWxIqSqKswVIPJYibQ0JAqHIiOFZIrlmkni0kBeg13pv6Phl4mc6H3BVA9Z6LcHrklajmfFByTVEgsZk5P5fEF+3H1ehwnL6DHPlaZ5yJAHlZzZUj7ScHcnojJlythmvktyzbQ2SVjbzNcrvjjPPSXDADmHTcaUojFTOM1jRByWTID9bUpVUvOoAa3hVTte81q/jXnfNG62c6RzLsrHlKsEjvqQzjoJ9Mkwqp/Z61oFPTQKujVMyJPsV8kli+zrt1aM8wVyAVvF2TyxqkI4gKdbGmoh9zcAAxXVHcRt07BrGraglgO30dcdBWpuu2VUl5I1pZr5Tzxi4guVkhpZXGpZMp+MjDWWDME+cVeum9Q1xE90lp7+Q2+M36g1P9VrnbGA/9GYT0DU1oTnEXu+5eCjWQY11QyKbWxYFyk2MbucVPmY9XQ9MLkc66bARTxNZcxgDCOqKens5BCUSarAJSzlCNs7OAhOeJyk8NOTDOPTgzQZlbtJht7BQXAqwt0EtDW3ZSTjOo7E1CrIJxPrxA9LpUXGX6w8B3tGr6wOXxu55ui64O3B2fyPURzEaAZziyZWl3nq7avm8N7MqVadz6ZwloFaYR6YLgvn1cxCWYx8IralZapv+jk1+7AHHeU8NR3TXN9B76Ja8xfmVTwyX7rF0tQkYUYzAfpwvuwxQD9huwzCW9OhiFuRN3XAmNg3928r2mz5unWu64c67EMNnzirHMbN1EdQRyxFmUejHuKi+4ioFHbatWTUS9kWbrQ4AZGKIkDv4aG+88XpRXfls8VFg7V53bvALpc3rPQ64U5BpNZ1exG/3g3w+BtQSwMEFAACAAgAaWGeS7CHI/RsAQAA9wIAACkAAAB1bml2ZXJzYWwvc2tpbl9jdXN0b21pemF0aW9uX3NldHRpbmdzLnhtbI1S20okMRB99yuCPzBJKreGdiC3lnlR0QGfm+ns0qyml07EZcnHm3Z3GEdHNPVUdU6doiqnTb/GaJ9Snh7Hv30ep3gXch7jz7Q+Q6jdTQ/TfDOHFHJaHSr3Yxym5038MS21Wk25j0M/D3ZB0xqj7vUhJbVyqmbMMIok89Qr5Dy3FWvANWAr5iix7eqdxD/dOexCzKdV29UR+rFhE1OY8yYO4c8ajtlvoeMNLud+GCsvrQVbouynFseWQIxwyX2hGgAEstwRh4uUjdQEecw4hmIUBQqIcE4aUYikHGrWNaKqMN8IxCRj1BXqae1GWhtHbZHQEKLrNK8aW7rOSIwRIQSYK1xAZzCqbKgaGtRyQHBgQBRtNFGAOtuZjhXvvLAcKeoFxoUZAxgfjnvY7u25DtVvr7M/5xeCJ7/gJLp4a3XCXO3uaZ4reRsefz/0OaBxuDi/ufV3/mqrt5vrq/P/vnz18J61mLVu/am3XwBQSwMEFAACAAgAamGeSyTg/xfEDAAAYxkAABcAAAB1bml2ZXJzYWwvdW5pdmVyc2FsLnBuZ+1XaVxT55o/isVOLSBqCrI7ttJFxKgBFJO4AOIom4QisouWyy7IIQYI0UtbBEXa3lvwgiESLAHCTkMwAUJF4NYYUFnCYqSCISSHJGAgIWSbg/bOb2a+zefhw/md8/zf9z3P+n/Oc/L9fU+ZfGT1EQAAJqe9Pc4BgBECADbe/NAYRox/4u+Gbxuunjt1AmgYsBHDwqbY4z7HAaC5aIs2+gNY/rcr3iFXAcC0Z+3a0J9SfQkALFdOexzHXYuQCs7QLwnH+1/rz+YA2GNVJ4ynP3Xbnr8b8bEH7vElhy83eVSctvmi4HNfj022f9n/1/s3HbYN52/e+mLgqGeNq0pJnKAFT4EThvAJ9uqFKwHshPqgoISRaCynNojtXFclLkvpCiEqx2Ppfhj1m8eb7bNhc648NK+1qLWeFafhshd7LaRPYOzMiFnMkfyCMyX7GFs2AkBdoG3qNsQUyUBkw4vdLiPbLSR3q5P3/PmMWZ2rzPiXwNoJb2Fvg0NyzAMHP5oHbAAADw/Y8a3m6+A6uA6ug+vgOrgOroPr4Dq4Dv4/BPdla6TMrwDg+tD/8UfhDS5gcZkf2RiRoxaOzBRhuzLnKvK+xk8RVShacrCgi0UGs9hSAIjqJDzlFzIHbrF0wu8sIsYSws5zR4/E6GQtgzCUZ2Mht0VEwu+QvMqSJ6XMM2qTUwSy5CwAaJ+gUXIyeV2Ee9Wp0UmhTF7rhdmOQgI+QCXeN8lp7KycFtMoySl/MBqS8Ux0jYhC0nu4poj9SKtDkr/5YR5KtCS9gkLn6KQpjvrFIlIYitJDMOhUznJNcARBWEBQ6M5xeYpvQEqhsGtVQv9qtlCB74zko70Gpo+0OalKONrLMxlVs3j2wHTJ3/12bzClvbqN7rtvqderOMxJNP0yCyw6LmDG6r7XvApIjbhVv2ZHvtU9wZUeE0cjRrL+RT3zVeYIAfEpmGMSxZXnqNh/GxKm2XhJNQX5EyL8y9R+YVP1DU278xM5yaBhHD8PjcTVh3ILCcvt1TcyedbYQSiD1f/PkLD+KmF8KPQWag5TiJYHnlRgX9dxlXGfdo9Xu8bbEd78qFxW3k2fxECjh/eA9hRhWVrWKU985cCt5CxfunE0qp0+ZPUA5D6NPzZhsiIhiwkOwSUMrvBHug5j9gwKX/0of5VweKHhep2mNqdhq41q/OZPzWFouz7HYJQ3BRvUvthnPbl/5yjayzfLlmEyI/LhjrgU9SsqqNP8lW8V/hSvjWEpku1/yEDl2HsrXMBI/GSOFXX6733R/872OmbyH6Ibr49galaWh4ktHfL4hXAad4xO6ad9iFqwz121uld0+cm1o8PXieqak7qsISJbhkybgKopUCor6aG5hYIQK13TtPW9pvMaGUppCU5i1zQtsxV1XZG7vjwRc53PKxtx/03h3ku2+ucdfM/hDlmXdUCzTRR/kHuDsJNrNnOALWSaTMAJfgGNgQ+TmM7P0fZmFexkICMw75GNQvV5MYu4H36pF2iJY+o02xAVyG5ollecywox+TSh6/4KCKoEKTsRAqFFQDNbxtowxkOSkA+HpLkhzIHmWmzZpDSXeLPgmeUfoOL7Iw8uCw4gdoB7s/B70XlBeft5u1xJNOqAfZ7bz2p3ROuFHBsMrk9lK+lIDempkuMSM28/4DdDadSNf6wuj4amMBrp/XWTZq3J5BiljC1v00QHc0Jwe2nhos9Y0tPSbQjEx5AeF2uC67e4lCeMKuqp1oXlQqlTw0TkowpjKcjBLRUuWP8YQItZQDcGlhw0G01wwDa22owNtsGJvGq73P5S1BaWELAooTe2iVIyfeYarK/zTHUWqw1Bgq67IGTTuuT8RUGBv8mzvqgksrDCscdtPi5uUpiaER/Jf+152ePx3WAjNbIRY2spGowctvsNWVwmZ5sDYA452aqJr3tFjoTrBfzHblzGQ6eyR3tG0Pb8GgtGEVZ/TXqVJFD/Agfe5Yw+O7Fzw69Lw4F+4eWRnNBZgnPn0gtJvmP5efTqXGWoM+2oZr61xLkyp5z/BRiCavQtUbSJlb11obFlLCdGoYIw4zKaMcxJcJdMkUsjNY055aqYGm69AlK96Rh4Eafs/SGbcwIHbOaj7d2XT6zwXKe0hoMGCf879a9D4a4ANNK8JIDEDaM+MVHhjRBUZYZZiYKEw2VnUSRt8vkc6lu1iEK5hzWe18wp+9e0InlGGqu5QVGh6wCrZjb4yghu8mgbc2NlVTPWxQckMp7GkZUaBHWjW7tM7ZZYWszl0chwqcwRV17nSRPEmHgrI8E5JJLiSr1oN/c1EMZKF7/RmhuheCWtSwPu8nt7D5I+8odGcdFIZzY9mfKUBbbtDEyacksJx91Wk5t9k/Df9d6svXy0UMeOmyJ7oV1YxJb8asC0IQtjWlaF5LhL0/kmx+R79ROBPtwN0pWl+zkyKrUD5rCjqOhGhk+Zcd+MQHPYwas7Pc9TSp10hCssaTYuURFHpd7WuRVHynrSqqur+72Yfi7miO7fwMH+6KFDs/j3XoCNlZraGmMOqt1p9ycS8nIp1iwzwT+smHubK64iOKAxAsupfstcmXBXAFui/H0tYKVw62obUY44boGoFw879UR9i/NRONq3nvT0FCt/30O9mAs3vym6IyX77ZsNSLoiPoJpeoXxLnh9Wtm7LHXKwPRIqGrxsxnknO1x/0CTNkizA1VV6kwbaPxtMVG/4+Jjb/IoCzXy+niMvotFPACNjldVsQQx7AR3vmdvB/mXtoSuOnUTrRQ7aO3Ra/iTRWLc/uHc5SKSdkbSSNJBkuZ+O/ajXDNMO0vaNulbbG7RFK7KtnHxicnBT4hhdrwK0crHUTwK7vYNxX7jzpntecjuCNP7CRMu+8s53UdNiRf03z0gpmsujda3+vjEuPepjkmmUIXEg3p0I7/GoSZu07iW+FP0/FTrnYLMRHjf9oDmBYpBGwuKyPjyb0+i/fkPry1O/36AkVg/FP7JQuv/rKBO/Sr0roImDt0P9/LcmefkZFgd2mc0o95eBOZtkta+z2W81SSS9MJ/CBMQQHk2jOMOIFGmOitTBGJ5bO5dvCsw+e2i8qyJH+aGWxi++JDuQZYoJrYjF1VFeLWiclurn+7MNZpqMln0UheTv7CrLfP2jRwynkCBeVgn56zsEwFDb4fuEEFNzDtPFUkNzdN3iwOQKTP+z/01NKVnDSWB3CxAXJpp4e6iUu22C/RjXrizEqy+tqe0+HUTz4n5siVzsdciWN6pshM9vTqIxqfdtYZGtoSpssdPqbLDaBEO/e7uAi0oKoFdPy+HGjmYZQvyGZNvXE1kEN7bqVW7xQfl3aA4lTg8CD2FRhyyYJK+pI1Ii+Be7AKyizWVprm1in7axyhSYs85p0DNg5wIO9mhfbS+8pmOZtJQt5Wk2b8oP5mUuPvLPcsfzK+a9h6wkgwQFTxXv+FBrtrs6EK3pEsjS9hcH6Zh3TgULCl31syVF5UN37rQ6Z2hcOncsxaob2IXDUH3Tr3vmGx4/GEKLNgrPOo081nS4LxyMgVLKEk3/b72sdDh14GykhpYY5d6ll48kz1n/DysJqtrvjILY3cCLwASVW+5zsz/1vWXhvyYcNenXkyD6pkR5lt+sf62WJjmKkgPZNvwu5K38n5mibgYlmhm15ohye8GAcbyeVATNVp/tU7SiCYrm2jHcWc9epdrrD2u/iJTtxTJ1Nc+FIBGTWXOHO2B1Zxewp8fr1VY2SSxySwAKTYl1cr9926u4MqD3LTibOhPM2f4K58F8Z/DbGTTYyRs/ljMcJKhLlRk2Ql/raRK+Rk4v349GZHDOVIGf5/ZMUgk1K5SM3Rx44T7T9TPTagPz63l1pY2jnYcPJe593MAq0FFtDZ+IGgbZIF3eCF62Uv3Lweg/ovsjlvqNT5eAhi3v0/SL+Rh68oJs//I6H7CkEqZU13xAO9nGQtqUML+nCQ9iCgJf2eW5ozBUJAg2GeIWQrRFs3wW4b0pB3QvC1CxIjAOzVjDerBUIOrNMQpFEov+UBLvcM/+ti5hvW01e2THdcjbTSqrzJ2WtgpHF3yrh1Mlle7FZm1EDNexlKIGW8FBRo5h1N48/V07y1H7nvWAIAoqDP66u3oZqh94XxPbZt4a0qf1BYh9Je72T2Ke9Vb510tDx6OtgdZHxfk2eesvGn6odTxc+B6DFjel80ew4dd60wxYHwRCP4tfiRJ94ZzvRGLcn/f/wAgLOV/zd8/boFH63B3I3iiLpPkb8FqF066b/+XoFsK/C+BbvDB1MMHlEG2AUOnccNLUwY9M3wrvFqzGn22pJJaZU/Spi7rVFPMr+CRHueMc9UeqP/asNk8bFOh9WHvr+GzwGlPX4+GE1F//U9QSwMEFAACAAgAamGeS3Br3rpLAAAAagAAABsAAAB1bml2ZXJzYWwvdW5pdmVyc2FsLnBuZy54bWyzsa/IzVEoSy0qzszPs1Uy1DNQsrfj5bIpKEoty0wtV6gAigEFIUBJoRLINUJwyzNTSjJslczNTBFiGamZ6Rkltkqm5iZwQX2gkQBQSwECAAAUAAIACADniXNLFQ6tKGQEAAAHEQAAHQAAAAAAAAABAAAAAAAAAAAAdW5pdmVyc2FsL2NvbW1vbl9tZXNzYWdlcy5sbmdQSwECAAAUAAIACADniXNLCH4LIykDAACGDAAAJwAAAAAAAAABAAAAAACfBAAAdW5pdmVyc2FsL2ZsYXNoX3B1Ymxpc2hpbmdfc2V0dGluZ3MueG1sUEsBAgAAFAACAAgA54lzS7X8CWS6AgAAVQoAACEAAAAAAAAAAQAAAAAADQgAAHVuaXZlcnNhbC9mbGFzaF9za2luX3NldHRpbmdzLnhtbFBLAQIAABQAAgAIAOeJc0sqlg9n/gIAAJcLAAAmAAAAAAAAAAEAAAAAAAYLAAB1bml2ZXJzYWwvaHRtbF9wdWJsaXNoaW5nX3NldHRpbmdzLnhtbFBLAQIAABQAAgAIAOeJc0tocVKRmgEAAB8GAAAfAAAAAAAAAAEAAAAAAEgOAAB1bml2ZXJzYWwvaHRtbF9za2luX3NldHRpbmdzLmpzUEsBAgAAFAACAAgAaWGeSz08L9HBAAAA5QEAABoAAAAAAAAAAQAAAAAAHxAAAHVuaXZlcnNhbC9pMThuX3ByZXNldHMueG1sUEsBAgAAFAACAAgAaWGeS5r5lmRrAAAAawAAABwAAAAAAAAAAQAAAAAAGBEAAHVuaXZlcnNhbC9sb2NhbF9zZXR0aW5ncy54bWxQSwECAAAUAAIACABElFdHI7RO+/sCAACwCAAAFAAAAAAAAAABAAAAAAC9EQAAdW5pdmVyc2FsL3BsYXllci54bWxQSwECAAAUAAIACABpYZ5LsIcj9GwBAAD3AgAAKQAAAAAAAAABAAAAAADqFAAAdW5pdmVyc2FsL3NraW5fY3VzdG9taXphdGlvbl9zZXR0aW5ncy54bWxQSwECAAAUAAIACABqYZ5LJOD/F8QMAABjGQAAFwAAAAAAAAAAAAAAAACdFgAAdW5pdmVyc2FsL3VuaXZlcnNhbC5wbmdQSwECAAAUAAIACABqYZ5LcGveuksAAABqAAAAGwAAAAAAAAABAAAAAACWIwAAdW5pdmVyc2FsL3VuaXZlcnNhbC5wbmcueG1sUEsFBgAAAAALAAsASQMAABokAAAAAA=="/>
  <p:tag name="ISPRING_PRESENTATION_TITLE" val="天空蓝悬浮渐变工作汇报总结PPT模板"/>
  <p:tag name="ISPRING_SCORM_ENDPOINT" val="&lt;endpoint&gt;&lt;enable&gt;0&lt;/enable&gt;&lt;lrs&gt;http://&lt;/lrs&gt;&lt;auth&gt;0&lt;/auth&gt;&lt;login&gt;&lt;/login&gt;&lt;password&gt;&lt;/password&gt;&lt;key&gt;&lt;/key&gt;&lt;name&gt;&lt;/name&gt;&lt;email&gt;&lt;/email&gt;&lt;/endpoint&gt;&#10;"/>
  <p:tag name="ISPRING_SCORM_RATE_SLIDES" val="1"/>
  <p:tag name="ISPRING_ULTRA_SCORM_COURSE_ID" val="2D89F78D-9A59-4AA2-BC3F-23E01D72866C"/>
  <p:tag name="ISPRINGCLOUDFOLDERID" val="0"/>
  <p:tag name="ISPRINGCLOUDFOLDERPATH" val="资源库"/>
  <p:tag name="ISPRINGONLINEFOLDERID" val="0"/>
  <p:tag name="ISPRINGONLINEFOLDERPATH" val="内容列表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https://www.islide.cc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https://www.islide.cc;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https://www.islide.cc;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第一PPT，www.1ppt.com">
  <a:themeElements>
    <a:clrScheme name="自定义 130">
      <a:dk1>
        <a:sysClr val="windowText" lastClr="000000"/>
      </a:dk1>
      <a:lt1>
        <a:sysClr val="window" lastClr="FFFFFF"/>
      </a:lt1>
      <a:dk2>
        <a:srgbClr val="C6D9F0"/>
      </a:dk2>
      <a:lt2>
        <a:srgbClr val="8DB3E2"/>
      </a:lt2>
      <a:accent1>
        <a:srgbClr val="80AADF"/>
      </a:accent1>
      <a:accent2>
        <a:srgbClr val="C4C7CB"/>
      </a:accent2>
      <a:accent3>
        <a:srgbClr val="5D626A"/>
      </a:accent3>
      <a:accent4>
        <a:srgbClr val="548DD4"/>
      </a:accent4>
      <a:accent5>
        <a:srgbClr val="7F7F7F"/>
      </a:accent5>
      <a:accent6>
        <a:srgbClr val="7F7F7F"/>
      </a:accent6>
      <a:hlink>
        <a:srgbClr val="17365D"/>
      </a:hlink>
      <a:folHlink>
        <a:srgbClr val="548DD4"/>
      </a:folHlink>
    </a:clrScheme>
    <a:fontScheme name="Office 主题​​">
      <a:majorFont>
        <a:latin typeface="Calibri Light"/>
        <a:ea typeface="Calibri Light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Calibri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第一PPT，www.1ppt.com 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宋体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宋体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等线 Light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等线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自定义 130">
    <a:dk1>
      <a:sysClr val="windowText" lastClr="000000"/>
    </a:dk1>
    <a:lt1>
      <a:sysClr val="window" lastClr="FFFFFF"/>
    </a:lt1>
    <a:dk2>
      <a:srgbClr val="C6D9F0"/>
    </a:dk2>
    <a:lt2>
      <a:srgbClr val="8DB3E2"/>
    </a:lt2>
    <a:accent1>
      <a:srgbClr val="80AADF"/>
    </a:accent1>
    <a:accent2>
      <a:srgbClr val="C4C7CB"/>
    </a:accent2>
    <a:accent3>
      <a:srgbClr val="5D626A"/>
    </a:accent3>
    <a:accent4>
      <a:srgbClr val="548DD4"/>
    </a:accent4>
    <a:accent5>
      <a:srgbClr val="7F7F7F"/>
    </a:accent5>
    <a:accent6>
      <a:srgbClr val="7F7F7F"/>
    </a:accent6>
    <a:hlink>
      <a:srgbClr val="17365D"/>
    </a:hlink>
    <a:folHlink>
      <a:srgbClr val="548DD4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1</Template>
  <TotalTime>136</TotalTime>
  <Words>1700</Words>
  <Application>Microsoft Office PowerPoint</Application>
  <PresentationFormat>宽屏</PresentationFormat>
  <Paragraphs>138</Paragraphs>
  <Slides>29</Slides>
  <Notes>29</Notes>
  <HiddenSlides>0</HiddenSlides>
  <MMClips>2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9</vt:i4>
      </vt:variant>
    </vt:vector>
  </HeadingPairs>
  <TitlesOfParts>
    <vt:vector size="38" baseType="lpstr">
      <vt:lpstr>Inter</vt:lpstr>
      <vt:lpstr>等线</vt:lpstr>
      <vt:lpstr>微软雅黑</vt:lpstr>
      <vt:lpstr>Aharoni</vt:lpstr>
      <vt:lpstr>Arial</vt:lpstr>
      <vt:lpstr>Questrial</vt:lpstr>
      <vt:lpstr>第一PPT，www.1ppt.com</vt:lpstr>
      <vt:lpstr>第一PPT，www.1ppt.com 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Manager>第一PPT</Manager>
  <Company>第一PPT，www.1ppt.co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高端英文</dc:title>
  <dc:creator>第一PPT</dc:creator>
  <cp:keywords>www.1ppt.com</cp:keywords>
  <dc:description>www.1ppt.com</dc:description>
  <cp:lastModifiedBy>xi feng</cp:lastModifiedBy>
  <cp:revision>182</cp:revision>
  <dcterms:created xsi:type="dcterms:W3CDTF">2017-08-18T03:02:00Z</dcterms:created>
  <dcterms:modified xsi:type="dcterms:W3CDTF">2025-03-02T23:51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E388EC536E9A421BB3A48EAAC8B8A125_12</vt:lpwstr>
  </property>
  <property fmtid="{D5CDD505-2E9C-101B-9397-08002B2CF9AE}" pid="3" name="KSOProductBuildVer">
    <vt:lpwstr>2052-12.1.0.18608</vt:lpwstr>
  </property>
</Properties>
</file>